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4639" r:id="rId2"/>
    <p:sldId id="4640" r:id="rId3"/>
    <p:sldId id="4593" r:id="rId4"/>
    <p:sldId id="4550" r:id="rId5"/>
    <p:sldId id="4594" r:id="rId6"/>
    <p:sldId id="4611" r:id="rId7"/>
    <p:sldId id="4676" r:id="rId8"/>
    <p:sldId id="4669" r:id="rId9"/>
    <p:sldId id="4595" r:id="rId10"/>
    <p:sldId id="4643" r:id="rId11"/>
    <p:sldId id="4660" r:id="rId12"/>
    <p:sldId id="4673" r:id="rId13"/>
    <p:sldId id="4626" r:id="rId14"/>
    <p:sldId id="4674" r:id="rId15"/>
    <p:sldId id="4675" r:id="rId16"/>
    <p:sldId id="4666" r:id="rId17"/>
  </p:sldIdLst>
  <p:sldSz cx="24387175" cy="13717588"/>
  <p:notesSz cx="6858000" cy="9144000"/>
  <p:defaultTex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 id="{78D99E09-41D1-8C43-A6B5-4ECE7C3185F8}">
          <p14:sldIdLst>
            <p14:sldId id="4639"/>
            <p14:sldId id="4640"/>
          </p14:sldIdLst>
        </p14:section>
        <p14:section name="1. Overview" id="{740B4FA2-08F3-6C45-A10C-C51A8950ED20}">
          <p14:sldIdLst>
            <p14:sldId id="4593"/>
            <p14:sldId id="4550"/>
          </p14:sldIdLst>
        </p14:section>
        <p14:section name="2. Context" id="{29A2FFD7-12CA-6D43-BAD1-59C9CA69FB74}">
          <p14:sldIdLst>
            <p14:sldId id="4594"/>
            <p14:sldId id="4611"/>
            <p14:sldId id="4676"/>
            <p14:sldId id="4669"/>
          </p14:sldIdLst>
        </p14:section>
        <p14:section name="3. Methodology" id="{3141571C-7AC6-464F-8981-7A5C64DB274B}">
          <p14:sldIdLst>
            <p14:sldId id="4595"/>
            <p14:sldId id="4643"/>
            <p14:sldId id="4660"/>
            <p14:sldId id="4673"/>
          </p14:sldIdLst>
        </p14:section>
        <p14:section name="4. Gantt-Chart" id="{11254849-6BCE-5942-9BE5-762E2687E281}">
          <p14:sldIdLst>
            <p14:sldId id="4626"/>
            <p14:sldId id="4674"/>
            <p14:sldId id="4675"/>
            <p14:sldId id="4666"/>
          </p14:sldIdLst>
        </p14:section>
      </p14:sectionLst>
    </p:ext>
    <p:ext uri="{EFAFB233-063F-42B5-8137-9DF3F51BA10A}">
      <p15:sldGuideLst xmlns:p15="http://schemas.microsoft.com/office/powerpoint/2012/main">
        <p15:guide id="5" pos="1784" userDrawn="1">
          <p15:clr>
            <a:srgbClr val="A4A3A4"/>
          </p15:clr>
        </p15:guide>
        <p15:guide id="6" orient="horz" pos="2415" userDrawn="1">
          <p15:clr>
            <a:srgbClr val="A4A3A4"/>
          </p15:clr>
        </p15:guide>
        <p15:guide id="7" orient="horz" pos="1826" userDrawn="1">
          <p15:clr>
            <a:srgbClr val="A4A3A4"/>
          </p15:clr>
        </p15:guide>
        <p15:guide id="8" orient="horz" pos="3731" userDrawn="1">
          <p15:clr>
            <a:srgbClr val="A4A3A4"/>
          </p15:clr>
        </p15:guide>
        <p15:guide id="10" orient="horz" pos="4910" userDrawn="1">
          <p15:clr>
            <a:srgbClr val="A4A3A4"/>
          </p15:clr>
        </p15:guide>
        <p15:guide id="11" orient="horz" pos="7178" userDrawn="1">
          <p15:clr>
            <a:srgbClr val="A4A3A4"/>
          </p15:clr>
        </p15:guide>
        <p15:guide id="12" orient="horz" pos="64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Microsoft Office" initials="Office" lastIdx="1" clrIdx="0"/>
  <p:cmAuthor id="2" name="пользователь Microsoft Office" initials="Office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FB"/>
    <a:srgbClr val="FF4C41"/>
    <a:srgbClr val="FF7E79"/>
    <a:srgbClr val="9B9898"/>
    <a:srgbClr val="2361E8"/>
    <a:srgbClr val="F3F3F3"/>
    <a:srgbClr val="BFBFBF"/>
    <a:srgbClr val="F4F7FF"/>
    <a:srgbClr val="C8D4FF"/>
    <a:srgbClr val="2463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30" autoAdjust="0"/>
    <p:restoredTop sz="94421" autoAdjust="0"/>
  </p:normalViewPr>
  <p:slideViewPr>
    <p:cSldViewPr>
      <p:cViewPr>
        <p:scale>
          <a:sx n="53" d="100"/>
          <a:sy n="53" d="100"/>
        </p:scale>
        <p:origin x="1328" y="360"/>
      </p:cViewPr>
      <p:guideLst>
        <p:guide pos="1784"/>
        <p:guide orient="horz" pos="2415"/>
        <p:guide orient="horz" pos="1826"/>
        <p:guide orient="horz" pos="3731"/>
        <p:guide orient="horz" pos="4910"/>
        <p:guide orient="horz" pos="7178"/>
        <p:guide orient="horz" pos="6498"/>
      </p:guideLst>
    </p:cSldViewPr>
  </p:slideViewPr>
  <p:outlineViewPr>
    <p:cViewPr>
      <p:scale>
        <a:sx n="85" d="100"/>
        <a:sy n="85" d="100"/>
      </p:scale>
      <p:origin x="0" y="-2224"/>
    </p:cViewPr>
  </p:outlineViewPr>
  <p:notesTextViewPr>
    <p:cViewPr>
      <p:scale>
        <a:sx n="110" d="100"/>
        <a:sy n="110" d="100"/>
      </p:scale>
      <p:origin x="0" y="0"/>
    </p:cViewPr>
  </p:notesTextViewPr>
  <p:sorterViewPr>
    <p:cViewPr>
      <p:scale>
        <a:sx n="98" d="100"/>
        <a:sy n="98" d="100"/>
      </p:scale>
      <p:origin x="0" y="93008"/>
    </p:cViewPr>
  </p:sorterViewPr>
  <p:notesViewPr>
    <p:cSldViewPr>
      <p:cViewPr varScale="1">
        <p:scale>
          <a:sx n="101" d="100"/>
          <a:sy n="101" d="100"/>
        </p:scale>
        <p:origin x="354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41B0E-0A9B-FB43-B29A-2C5A495EA0A7}" type="datetimeFigureOut">
              <a:rPr lang="ru-RU" smtClean="0"/>
              <a:t>30.01.2025</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111949-EE69-F440-BF44-484174DCC2AF}" type="slidenum">
              <a:rPr lang="ru-RU" smtClean="0"/>
              <a:t>‹#›</a:t>
            </a:fld>
            <a:endParaRPr lang="ru-RU"/>
          </a:p>
        </p:txBody>
      </p:sp>
      <p:sp>
        <p:nvSpPr>
          <p:cNvPr id="2" name="Верхний колонтитул 1">
            <a:extLst>
              <a:ext uri="{FF2B5EF4-FFF2-40B4-BE49-F238E27FC236}">
                <a16:creationId xmlns:a16="http://schemas.microsoft.com/office/drawing/2014/main" id="{D163C9CA-823B-F14C-9E29-9AF9C7454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Tree>
    <p:extLst>
      <p:ext uri="{BB962C8B-B14F-4D97-AF65-F5344CB8AC3E}">
        <p14:creationId xmlns:p14="http://schemas.microsoft.com/office/powerpoint/2010/main" val="2399242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E03F2D-4C40-8A47-B131-FA84CE0A3C0A}" type="datetimeFigureOut">
              <a:rPr lang="ru-RU" smtClean="0"/>
              <a:t>30.01.2025</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3FC40D-6FB9-1648-B027-EAD4E7DC4F2C}" type="slidenum">
              <a:rPr lang="ru-RU" smtClean="0"/>
              <a:t>‹#›</a:t>
            </a:fld>
            <a:endParaRPr lang="ru-RU"/>
          </a:p>
        </p:txBody>
      </p:sp>
    </p:spTree>
    <p:extLst>
      <p:ext uri="{BB962C8B-B14F-4D97-AF65-F5344CB8AC3E}">
        <p14:creationId xmlns:p14="http://schemas.microsoft.com/office/powerpoint/2010/main" val="4180741598"/>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3200" kern="1200">
        <a:solidFill>
          <a:schemeClr val="tx1"/>
        </a:solidFill>
        <a:latin typeface="+mn-lt"/>
        <a:ea typeface="+mn-ea"/>
        <a:cs typeface="+mn-cs"/>
      </a:defRPr>
    </a:lvl1pPr>
    <a:lvl2pPr marL="1219261" algn="l" defTabSz="1219261" rtl="0" eaLnBrk="1" latinLnBrk="0" hangingPunct="1">
      <a:defRPr sz="3200" kern="1200">
        <a:solidFill>
          <a:schemeClr val="tx1"/>
        </a:solidFill>
        <a:latin typeface="+mn-lt"/>
        <a:ea typeface="+mn-ea"/>
        <a:cs typeface="+mn-cs"/>
      </a:defRPr>
    </a:lvl2pPr>
    <a:lvl3pPr marL="2438522" algn="l" defTabSz="1219261" rtl="0" eaLnBrk="1" latinLnBrk="0" hangingPunct="1">
      <a:defRPr sz="3200" kern="1200">
        <a:solidFill>
          <a:schemeClr val="tx1"/>
        </a:solidFill>
        <a:latin typeface="+mn-lt"/>
        <a:ea typeface="+mn-ea"/>
        <a:cs typeface="+mn-cs"/>
      </a:defRPr>
    </a:lvl3pPr>
    <a:lvl4pPr marL="3657783" algn="l" defTabSz="1219261" rtl="0" eaLnBrk="1" latinLnBrk="0" hangingPunct="1">
      <a:defRPr sz="3200" kern="1200">
        <a:solidFill>
          <a:schemeClr val="tx1"/>
        </a:solidFill>
        <a:latin typeface="+mn-lt"/>
        <a:ea typeface="+mn-ea"/>
        <a:cs typeface="+mn-cs"/>
      </a:defRPr>
    </a:lvl4pPr>
    <a:lvl5pPr marL="4877044" algn="l" defTabSz="1219261" rtl="0" eaLnBrk="1" latinLnBrk="0" hangingPunct="1">
      <a:defRPr sz="3200" kern="1200">
        <a:solidFill>
          <a:schemeClr val="tx1"/>
        </a:solidFill>
        <a:latin typeface="+mn-lt"/>
        <a:ea typeface="+mn-ea"/>
        <a:cs typeface="+mn-cs"/>
      </a:defRPr>
    </a:lvl5pPr>
    <a:lvl6pPr marL="6096305" algn="l" defTabSz="1219261" rtl="0" eaLnBrk="1" latinLnBrk="0" hangingPunct="1">
      <a:defRPr sz="3200" kern="1200">
        <a:solidFill>
          <a:schemeClr val="tx1"/>
        </a:solidFill>
        <a:latin typeface="+mn-lt"/>
        <a:ea typeface="+mn-ea"/>
        <a:cs typeface="+mn-cs"/>
      </a:defRPr>
    </a:lvl6pPr>
    <a:lvl7pPr marL="7315566" algn="l" defTabSz="1219261" rtl="0" eaLnBrk="1" latinLnBrk="0" hangingPunct="1">
      <a:defRPr sz="3200" kern="1200">
        <a:solidFill>
          <a:schemeClr val="tx1"/>
        </a:solidFill>
        <a:latin typeface="+mn-lt"/>
        <a:ea typeface="+mn-ea"/>
        <a:cs typeface="+mn-cs"/>
      </a:defRPr>
    </a:lvl7pPr>
    <a:lvl8pPr marL="8534827" algn="l" defTabSz="1219261" rtl="0" eaLnBrk="1" latinLnBrk="0" hangingPunct="1">
      <a:defRPr sz="3200" kern="1200">
        <a:solidFill>
          <a:schemeClr val="tx1"/>
        </a:solidFill>
        <a:latin typeface="+mn-lt"/>
        <a:ea typeface="+mn-ea"/>
        <a:cs typeface="+mn-cs"/>
      </a:defRPr>
    </a:lvl8pPr>
    <a:lvl9pPr marL="9754088" algn="l" defTabSz="1219261"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p:cNvSpPr>
            <a:spLocks noGrp="1"/>
          </p:cNvSpPr>
          <p:nvPr>
            <p:ph type="sldNum" sz="quarter" idx="5"/>
          </p:nvPr>
        </p:nvSpPr>
        <p:spPr/>
        <p:txBody>
          <a:bodyPr/>
          <a:lstStyle/>
          <a:p>
            <a:fld id="{013FC40D-6FB9-1648-B027-EAD4E7DC4F2C}" type="slidenum">
              <a:rPr lang="ru-RU" smtClean="0"/>
              <a:t>1</a:t>
            </a:fld>
            <a:endParaRPr lang="ru-RU"/>
          </a:p>
        </p:txBody>
      </p:sp>
    </p:spTree>
    <p:extLst>
      <p:ext uri="{BB962C8B-B14F-4D97-AF65-F5344CB8AC3E}">
        <p14:creationId xmlns:p14="http://schemas.microsoft.com/office/powerpoint/2010/main" val="226540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103796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8BC53-19A7-D677-53BF-F82836A7F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60AB0-BAEB-3912-0E9E-41DD2D5CB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E42ABB-9D4B-FA05-E4B4-9C2FCACB5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FA4D2-92F5-04A4-E074-3FE85B861E52}"/>
              </a:ext>
            </a:extLst>
          </p:cNvPr>
          <p:cNvSpPr>
            <a:spLocks noGrp="1"/>
          </p:cNvSpPr>
          <p:nvPr>
            <p:ph type="sldNum" sz="quarter" idx="5"/>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2665964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70583-A38E-858C-5AAD-F1E280DE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B459-5C70-1B05-CADA-B15490C994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4B7979-0F49-A462-6BCF-AAD65FA3C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D930CA-D27C-87D1-D637-8078A70490B7}"/>
              </a:ext>
            </a:extLst>
          </p:cNvPr>
          <p:cNvSpPr>
            <a:spLocks noGrp="1"/>
          </p:cNvSpPr>
          <p:nvPr>
            <p:ph type="sldNum" sz="quarter" idx="5"/>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89151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1763121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2B02-82BA-A9EC-24E2-3B1A63F955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ABE4A5-014D-2485-51A0-EEFDF47A4C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8C49A4-41C9-62BD-AA8E-51779FCD2CBC}"/>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501043C1-7200-9F39-A3C2-05AF565A122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174689-BECC-4390-B3B9-306A17FD432A}" type="slidenum">
              <a:rPr kumimoji="0" lang="en-US" altLang="ru-RU"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ru-RU"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5686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DA9A9-8435-1B57-BAAA-39A1451B8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C8847-FA43-90F2-8D0E-240F325F4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9E8A0-69A2-8A78-9871-FCFF35BC05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2B2B16-4207-388B-981E-916D49777B3D}"/>
              </a:ext>
            </a:extLst>
          </p:cNvPr>
          <p:cNvSpPr>
            <a:spLocks noGrp="1"/>
          </p:cNvSpPr>
          <p:nvPr>
            <p:ph type="sldNum" sz="quarter" idx="5"/>
          </p:nvPr>
        </p:nvSpPr>
        <p:spPr/>
        <p:txBody>
          <a:bodyPr/>
          <a:lstStyle/>
          <a:p>
            <a:fld id="{013FC40D-6FB9-1648-B027-EAD4E7DC4F2C}" type="slidenum">
              <a:rPr lang="ru-RU" smtClean="0"/>
              <a:t>15</a:t>
            </a:fld>
            <a:endParaRPr lang="ru-RU"/>
          </a:p>
        </p:txBody>
      </p:sp>
    </p:spTree>
    <p:extLst>
      <p:ext uri="{BB962C8B-B14F-4D97-AF65-F5344CB8AC3E}">
        <p14:creationId xmlns:p14="http://schemas.microsoft.com/office/powerpoint/2010/main" val="19418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7676-05F1-EC2D-34CD-F0A4D35E3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4FE0D-73DC-601D-097B-893BC25D26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680D0-57A7-DB49-235B-A8E9B0958585}"/>
              </a:ext>
            </a:extLst>
          </p:cNvPr>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a:extLst>
              <a:ext uri="{FF2B5EF4-FFF2-40B4-BE49-F238E27FC236}">
                <a16:creationId xmlns:a16="http://schemas.microsoft.com/office/drawing/2014/main" id="{A1E12E40-B2FE-2C35-80A4-C60583EFE83B}"/>
              </a:ext>
            </a:extLst>
          </p:cNvPr>
          <p:cNvSpPr>
            <a:spLocks noGrp="1"/>
          </p:cNvSpPr>
          <p:nvPr>
            <p:ph type="sldNum" sz="quarter" idx="5"/>
          </p:nvPr>
        </p:nvSpPr>
        <p:spPr/>
        <p:txBody>
          <a:bodyPr/>
          <a:lstStyle/>
          <a:p>
            <a:fld id="{013FC40D-6FB9-1648-B027-EAD4E7DC4F2C}" type="slidenum">
              <a:rPr lang="ru-RU" smtClean="0"/>
              <a:t>16</a:t>
            </a:fld>
            <a:endParaRPr lang="ru-RU"/>
          </a:p>
        </p:txBody>
      </p:sp>
    </p:spTree>
    <p:extLst>
      <p:ext uri="{BB962C8B-B14F-4D97-AF65-F5344CB8AC3E}">
        <p14:creationId xmlns:p14="http://schemas.microsoft.com/office/powerpoint/2010/main" val="3653364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2</a:t>
            </a:fld>
            <a:endParaRPr lang="ru-RU"/>
          </a:p>
        </p:txBody>
      </p:sp>
    </p:spTree>
    <p:extLst>
      <p:ext uri="{BB962C8B-B14F-4D97-AF65-F5344CB8AC3E}">
        <p14:creationId xmlns:p14="http://schemas.microsoft.com/office/powerpoint/2010/main" val="354821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3</a:t>
            </a:fld>
            <a:endParaRPr lang="ru-RU"/>
          </a:p>
        </p:txBody>
      </p:sp>
    </p:spTree>
    <p:extLst>
      <p:ext uri="{BB962C8B-B14F-4D97-AF65-F5344CB8AC3E}">
        <p14:creationId xmlns:p14="http://schemas.microsoft.com/office/powerpoint/2010/main" val="84308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4</a:t>
            </a:fld>
            <a:endParaRPr lang="ru-RU"/>
          </a:p>
        </p:txBody>
      </p:sp>
    </p:spTree>
    <p:extLst>
      <p:ext uri="{BB962C8B-B14F-4D97-AF65-F5344CB8AC3E}">
        <p14:creationId xmlns:p14="http://schemas.microsoft.com/office/powerpoint/2010/main" val="515703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5</a:t>
            </a:fld>
            <a:endParaRPr lang="ru-RU"/>
          </a:p>
        </p:txBody>
      </p:sp>
    </p:spTree>
    <p:extLst>
      <p:ext uri="{BB962C8B-B14F-4D97-AF65-F5344CB8AC3E}">
        <p14:creationId xmlns:p14="http://schemas.microsoft.com/office/powerpoint/2010/main" val="242885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a:solidFill>
                  <a:schemeClr val="tx2"/>
                </a:solidFill>
              </a:rPr>
              <a:t>Verbal auf der </a:t>
            </a:r>
            <a:r>
              <a:rPr lang="en-US" sz="3200" err="1">
                <a:solidFill>
                  <a:schemeClr val="tx2"/>
                </a:solidFill>
              </a:rPr>
              <a:t>Tonspur</a:t>
            </a:r>
            <a:r>
              <a:rPr lang="en-US" sz="3200">
                <a:solidFill>
                  <a:schemeClr val="tx2"/>
                </a:solidFill>
              </a:rPr>
              <a:t> das Bild </a:t>
            </a:r>
            <a:r>
              <a:rPr lang="en-US" sz="3200" err="1">
                <a:solidFill>
                  <a:schemeClr val="tx2"/>
                </a:solidFill>
              </a:rPr>
              <a:t>erklären</a:t>
            </a:r>
            <a:endParaRPr lang="en-US" sz="3200">
              <a:solidFill>
                <a:schemeClr val="tx2"/>
              </a:solidFill>
            </a:endParaRPr>
          </a:p>
          <a:p>
            <a:endParaRPr lang="en-US" sz="3200">
              <a:solidFill>
                <a:schemeClr val="tx2"/>
              </a:solidFill>
            </a:endParaRPr>
          </a:p>
          <a:p>
            <a:r>
              <a:rPr lang="en-US" sz="3200" err="1">
                <a:solidFill>
                  <a:schemeClr val="tx2"/>
                </a:solidFill>
              </a:rPr>
              <a:t>Vollständig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der </a:t>
            </a:r>
            <a:r>
              <a:rPr lang="en-US" sz="3200" b="0" err="1">
                <a:solidFill>
                  <a:schemeClr val="tx2"/>
                </a:solidFill>
              </a:rPr>
              <a:t>über</a:t>
            </a:r>
            <a:r>
              <a:rPr lang="en-US" sz="3200" b="0">
                <a:solidFill>
                  <a:schemeClr val="tx2"/>
                </a:solidFill>
              </a:rPr>
              <a:t> </a:t>
            </a:r>
            <a:r>
              <a:rPr lang="en-US" sz="3200" b="0" err="1">
                <a:solidFill>
                  <a:schemeClr val="tx2"/>
                </a:solidFill>
              </a:rPr>
              <a:t>einen</a:t>
            </a:r>
            <a:r>
              <a:rPr lang="en-US" sz="3200" b="0">
                <a:solidFill>
                  <a:schemeClr val="tx2"/>
                </a:solidFill>
              </a:rPr>
              <a:t> </a:t>
            </a:r>
            <a:r>
              <a:rPr lang="en-US" sz="3200" b="0" err="1">
                <a:solidFill>
                  <a:schemeClr val="tx2"/>
                </a:solidFill>
              </a:rPr>
              <a:t>bestimmten</a:t>
            </a:r>
            <a:r>
              <a:rPr lang="en-US" sz="3200" b="0">
                <a:solidFill>
                  <a:schemeClr val="tx2"/>
                </a:solidFill>
              </a:rPr>
              <a:t> </a:t>
            </a:r>
            <a:r>
              <a:rPr lang="en-US" sz="3200" b="0" err="1">
                <a:solidFill>
                  <a:schemeClr val="tx2"/>
                </a:solidFill>
              </a:rPr>
              <a:t>Zeitraum</a:t>
            </a:r>
            <a:r>
              <a:rPr lang="en-US" sz="3200" b="0">
                <a:solidFill>
                  <a:schemeClr val="tx2"/>
                </a:solidFill>
              </a:rPr>
              <a:t> (z. B. </a:t>
            </a:r>
            <a:r>
              <a:rPr lang="en-US" sz="3200" b="0" err="1">
                <a:solidFill>
                  <a:schemeClr val="tx2"/>
                </a:solidFill>
              </a:rPr>
              <a:t>sechs</a:t>
            </a:r>
            <a:r>
              <a:rPr lang="en-US" sz="3200" b="0">
                <a:solidFill>
                  <a:schemeClr val="tx2"/>
                </a:solidFill>
              </a:rPr>
              <a:t> </a:t>
            </a:r>
            <a:r>
              <a:rPr lang="en-US" sz="3200" b="0" err="1">
                <a:solidFill>
                  <a:schemeClr val="tx2"/>
                </a:solidFill>
              </a:rPr>
              <a:t>Monate</a:t>
            </a:r>
            <a:r>
              <a:rPr lang="en-US" sz="3200" b="0">
                <a:solidFill>
                  <a:schemeClr val="tx2"/>
                </a:solidFill>
              </a:rPr>
              <a:t> </a:t>
            </a:r>
            <a:r>
              <a:rPr lang="en-US" sz="3200" b="0" err="1">
                <a:solidFill>
                  <a:schemeClr val="tx2"/>
                </a:solidFill>
              </a:rPr>
              <a:t>oder</a:t>
            </a:r>
            <a:r>
              <a:rPr lang="en-US" sz="3200" b="0">
                <a:solidFill>
                  <a:schemeClr val="tx2"/>
                </a:solidFill>
              </a:rPr>
              <a:t> </a:t>
            </a:r>
            <a:r>
              <a:rPr lang="en-US" sz="3200" b="0" err="1">
                <a:solidFill>
                  <a:schemeClr val="tx2"/>
                </a:solidFill>
              </a:rPr>
              <a:t>ein</a:t>
            </a:r>
            <a:r>
              <a:rPr lang="en-US" sz="3200" b="0">
                <a:solidFill>
                  <a:schemeClr val="tx2"/>
                </a:solidFill>
              </a:rPr>
              <a:t> </a:t>
            </a:r>
            <a:r>
              <a:rPr lang="en-US" sz="3200" b="0" err="1">
                <a:solidFill>
                  <a:schemeClr val="tx2"/>
                </a:solidFill>
              </a:rPr>
              <a:t>Jahr</a:t>
            </a:r>
            <a:r>
              <a:rPr lang="en-US" sz="3200" b="0">
                <a:solidFill>
                  <a:schemeClr val="tx2"/>
                </a:solidFill>
              </a:rPr>
              <a:t>) </a:t>
            </a:r>
            <a:r>
              <a:rPr lang="en-US" sz="3200" b="0" err="1">
                <a:solidFill>
                  <a:schemeClr val="tx2"/>
                </a:solidFill>
              </a:rPr>
              <a:t>keine</a:t>
            </a:r>
            <a:r>
              <a:rPr lang="en-US" sz="3200" b="0">
                <a:solidFill>
                  <a:schemeClr val="tx2"/>
                </a:solidFill>
              </a:rPr>
              <a:t> </a:t>
            </a:r>
            <a:r>
              <a:rPr lang="en-US" sz="3200" b="0" err="1">
                <a:solidFill>
                  <a:schemeClr val="tx2"/>
                </a:solidFill>
              </a:rPr>
              <a:t>Käufe</a:t>
            </a:r>
            <a:r>
              <a:rPr lang="en-US" sz="3200" b="0">
                <a:solidFill>
                  <a:schemeClr val="tx2"/>
                </a:solidFill>
              </a:rPr>
              <a:t> </a:t>
            </a:r>
            <a:r>
              <a:rPr lang="en-US" sz="3200" b="0" err="1">
                <a:solidFill>
                  <a:schemeClr val="tx2"/>
                </a:solidFill>
              </a:rPr>
              <a:t>getätigt</a:t>
            </a:r>
            <a:r>
              <a:rPr lang="en-US" sz="3200" b="0">
                <a:solidFill>
                  <a:schemeClr val="tx2"/>
                </a:solidFill>
              </a:rPr>
              <a:t> hat.</a:t>
            </a:r>
          </a:p>
          <a:p>
            <a:endParaRPr lang="en-US" sz="3200" b="0">
              <a:solidFill>
                <a:schemeClr val="tx2"/>
              </a:solidFill>
            </a:endParaRPr>
          </a:p>
          <a:p>
            <a:r>
              <a:rPr lang="en-US" sz="3200" err="1">
                <a:solidFill>
                  <a:schemeClr val="tx2"/>
                </a:solidFill>
              </a:rPr>
              <a:t>Teilweis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a:t>
            </a:r>
            <a:r>
              <a:rPr lang="en-US" sz="3200" b="0" err="1">
                <a:solidFill>
                  <a:schemeClr val="tx2"/>
                </a:solidFill>
              </a:rPr>
              <a:t>dessen</a:t>
            </a:r>
            <a:r>
              <a:rPr lang="en-US" sz="3200" b="0">
                <a:solidFill>
                  <a:schemeClr val="tx2"/>
                </a:solidFill>
              </a:rPr>
              <a:t> </a:t>
            </a:r>
            <a:r>
              <a:rPr lang="en-US" sz="3200" b="0" err="1">
                <a:solidFill>
                  <a:schemeClr val="tx2"/>
                </a:solidFill>
              </a:rPr>
              <a:t>Kaufverhalten</a:t>
            </a:r>
            <a:r>
              <a:rPr lang="en-US" sz="3200" b="0">
                <a:solidFill>
                  <a:schemeClr val="tx2"/>
                </a:solidFill>
              </a:rPr>
              <a:t> </a:t>
            </a:r>
            <a:r>
              <a:rPr lang="en-US" sz="3200" b="0" err="1">
                <a:solidFill>
                  <a:schemeClr val="tx2"/>
                </a:solidFill>
              </a:rPr>
              <a:t>deutlich</a:t>
            </a:r>
            <a:r>
              <a:rPr lang="en-US" sz="3200" b="0">
                <a:solidFill>
                  <a:schemeClr val="tx2"/>
                </a:solidFill>
              </a:rPr>
              <a:t> </a:t>
            </a:r>
            <a:r>
              <a:rPr lang="en-US" sz="3200" b="0" err="1">
                <a:solidFill>
                  <a:schemeClr val="tx2"/>
                </a:solidFill>
              </a:rPr>
              <a:t>nachgelassen</a:t>
            </a:r>
            <a:r>
              <a:rPr lang="en-US" sz="3200" b="0">
                <a:solidFill>
                  <a:schemeClr val="tx2"/>
                </a:solidFill>
              </a:rPr>
              <a:t>, </a:t>
            </a:r>
            <a:r>
              <a:rPr lang="en-US" sz="3200" b="0" err="1">
                <a:solidFill>
                  <a:schemeClr val="tx2"/>
                </a:solidFill>
              </a:rPr>
              <a:t>aber</a:t>
            </a:r>
            <a:r>
              <a:rPr lang="en-US" sz="3200" b="0">
                <a:solidFill>
                  <a:schemeClr val="tx2"/>
                </a:solidFill>
              </a:rPr>
              <a:t> </a:t>
            </a:r>
            <a:r>
              <a:rPr lang="en-US" sz="3200" b="0" err="1">
                <a:solidFill>
                  <a:schemeClr val="tx2"/>
                </a:solidFill>
              </a:rPr>
              <a:t>nicht</a:t>
            </a:r>
            <a:r>
              <a:rPr lang="en-US" sz="3200" b="0">
                <a:solidFill>
                  <a:schemeClr val="tx2"/>
                </a:solidFill>
              </a:rPr>
              <a:t> </a:t>
            </a:r>
            <a:r>
              <a:rPr lang="en-US" sz="3200" b="0" err="1">
                <a:solidFill>
                  <a:schemeClr val="tx2"/>
                </a:solidFill>
              </a:rPr>
              <a:t>ganz</a:t>
            </a:r>
            <a:r>
              <a:rPr lang="en-US" sz="3200" b="0">
                <a:solidFill>
                  <a:schemeClr val="tx2"/>
                </a:solidFill>
              </a:rPr>
              <a:t> </a:t>
            </a:r>
            <a:r>
              <a:rPr lang="en-US" sz="3200" b="0" err="1">
                <a:solidFill>
                  <a:schemeClr val="tx2"/>
                </a:solidFill>
              </a:rPr>
              <a:t>aufgehört</a:t>
            </a:r>
            <a:r>
              <a:rPr lang="en-US" sz="3200" b="0">
                <a:solidFill>
                  <a:schemeClr val="tx2"/>
                </a:solidFill>
              </a:rPr>
              <a:t> hat. </a:t>
            </a:r>
          </a:p>
        </p:txBody>
      </p:sp>
      <p:sp>
        <p:nvSpPr>
          <p:cNvPr id="4" name="Slide Number Placeholder 3"/>
          <p:cNvSpPr>
            <a:spLocks noGrp="1"/>
          </p:cNvSpPr>
          <p:nvPr>
            <p:ph type="sldNum" sz="quarter" idx="5"/>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3205001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9C51-A0C1-165D-5F13-59FAA12934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4D00E-0A8E-23A2-9FCB-F3FA8097D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75649C-4C82-F5AC-E752-2FCBFDE786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60D5DE-600B-1F28-50AF-0768724784B9}"/>
              </a:ext>
            </a:extLst>
          </p:cNvPr>
          <p:cNvSpPr>
            <a:spLocks noGrp="1"/>
          </p:cNvSpPr>
          <p:nvPr>
            <p:ph type="sldNum" sz="quarter" idx="5"/>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084293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423355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260846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_1">
    <p:bg>
      <p:bgPr>
        <a:solidFill>
          <a:schemeClr val="accent1"/>
        </a:solidFill>
        <a:effectLst/>
      </p:bgPr>
    </p:bg>
    <p:spTree>
      <p:nvGrpSpPr>
        <p:cNvPr id="1" name=""/>
        <p:cNvGrpSpPr/>
        <p:nvPr/>
      </p:nvGrpSpPr>
      <p:grpSpPr>
        <a:xfrm>
          <a:off x="0" y="0"/>
          <a:ext cx="0" cy="0"/>
          <a:chOff x="0" y="0"/>
          <a:chExt cx="0" cy="0"/>
        </a:xfrm>
      </p:grpSpPr>
      <p:sp>
        <p:nvSpPr>
          <p:cNvPr id="12" name="Рисунок 43">
            <a:extLst>
              <a:ext uri="{FF2B5EF4-FFF2-40B4-BE49-F238E27FC236}">
                <a16:creationId xmlns:a16="http://schemas.microsoft.com/office/drawing/2014/main" id="{5F3206EC-51A7-ED41-8585-7482AED3FFCE}"/>
              </a:ext>
            </a:extLst>
          </p:cNvPr>
          <p:cNvSpPr>
            <a:spLocks noGrp="1"/>
          </p:cNvSpPr>
          <p:nvPr>
            <p:ph type="pic" sz="quarter" idx="32"/>
          </p:nvPr>
        </p:nvSpPr>
        <p:spPr>
          <a:xfrm>
            <a:off x="1" y="0"/>
            <a:ext cx="24387174" cy="13717588"/>
          </a:xfrm>
          <a:custGeom>
            <a:avLst/>
            <a:gdLst>
              <a:gd name="connsiteX0" fmla="*/ 0 w 7729092"/>
              <a:gd name="connsiteY0" fmla="*/ 0 h 13717588"/>
              <a:gd name="connsiteX1" fmla="*/ 7729092 w 7729092"/>
              <a:gd name="connsiteY1" fmla="*/ 0 h 13717588"/>
              <a:gd name="connsiteX2" fmla="*/ 7729092 w 7729092"/>
              <a:gd name="connsiteY2" fmla="*/ 13717588 h 13717588"/>
              <a:gd name="connsiteX3" fmla="*/ 0 w 7729092"/>
              <a:gd name="connsiteY3" fmla="*/ 13717588 h 13717588"/>
            </a:gdLst>
            <a:ahLst/>
            <a:cxnLst>
              <a:cxn ang="0">
                <a:pos x="connsiteX0" y="connsiteY0"/>
              </a:cxn>
              <a:cxn ang="0">
                <a:pos x="connsiteX1" y="connsiteY1"/>
              </a:cxn>
              <a:cxn ang="0">
                <a:pos x="connsiteX2" y="connsiteY2"/>
              </a:cxn>
              <a:cxn ang="0">
                <a:pos x="connsiteX3" y="connsiteY3"/>
              </a:cxn>
            </a:cxnLst>
            <a:rect l="l" t="t" r="r" b="b"/>
            <a:pathLst>
              <a:path w="7729092" h="13717588">
                <a:moveTo>
                  <a:pt x="0" y="0"/>
                </a:moveTo>
                <a:lnTo>
                  <a:pt x="7729092" y="0"/>
                </a:lnTo>
                <a:lnTo>
                  <a:pt x="7729092"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8" name="Заголовок 1">
            <a:extLst>
              <a:ext uri="{FF2B5EF4-FFF2-40B4-BE49-F238E27FC236}">
                <a16:creationId xmlns:a16="http://schemas.microsoft.com/office/drawing/2014/main" id="{66987AE1-D782-F749-98C3-249E655172E8}"/>
              </a:ext>
            </a:extLst>
          </p:cNvPr>
          <p:cNvSpPr>
            <a:spLocks noGrp="1"/>
          </p:cNvSpPr>
          <p:nvPr>
            <p:ph type="title" hasCustomPrompt="1"/>
          </p:nvPr>
        </p:nvSpPr>
        <p:spPr>
          <a:xfrm>
            <a:off x="28092" y="3978474"/>
            <a:ext cx="12309512" cy="3691701"/>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23900" b="1" i="0" kern="1200" spc="0" baseline="0" dirty="0">
                <a:solidFill>
                  <a:schemeClr val="bg1"/>
                </a:solidFill>
                <a:latin typeface="Tahoma" charset="0"/>
                <a:ea typeface="Tahoma" charset="0"/>
                <a:cs typeface="Tahoma" charset="0"/>
              </a:defRPr>
            </a:lvl1pPr>
          </a:lstStyle>
          <a:p>
            <a:r>
              <a:rPr lang="en-US" dirty="0"/>
              <a:t>MAIN</a:t>
            </a:r>
            <a:endParaRPr lang="ru-RU" dirty="0"/>
          </a:p>
        </p:txBody>
      </p:sp>
      <p:sp>
        <p:nvSpPr>
          <p:cNvPr id="11" name="Текст 3">
            <a:extLst>
              <a:ext uri="{FF2B5EF4-FFF2-40B4-BE49-F238E27FC236}">
                <a16:creationId xmlns:a16="http://schemas.microsoft.com/office/drawing/2014/main" id="{61FF07E3-74E3-014D-AD7E-B41B3F8EF212}"/>
              </a:ext>
            </a:extLst>
          </p:cNvPr>
          <p:cNvSpPr>
            <a:spLocks noGrp="1"/>
          </p:cNvSpPr>
          <p:nvPr>
            <p:ph type="body" sz="quarter" idx="14" hasCustomPrompt="1"/>
          </p:nvPr>
        </p:nvSpPr>
        <p:spPr>
          <a:xfrm>
            <a:off x="7081019" y="5784990"/>
            <a:ext cx="15873148" cy="5034244"/>
          </a:xfrm>
          <a:prstGeom prst="rect">
            <a:avLst/>
          </a:prstGeom>
        </p:spPr>
        <p:txBody>
          <a:bodyPr/>
          <a:lstStyle>
            <a:lvl1pPr marL="0" marR="0" indent="0" algn="l" defTabSz="2438645" rtl="0" eaLnBrk="1" fontAlgn="auto" latinLnBrk="0" hangingPunct="1">
              <a:lnSpc>
                <a:spcPct val="100000"/>
              </a:lnSpc>
              <a:spcBef>
                <a:spcPts val="1272"/>
              </a:spcBef>
              <a:spcAft>
                <a:spcPts val="0"/>
              </a:spcAft>
              <a:buClrTx/>
              <a:buSzTx/>
              <a:buFont typeface="Arial" panose="020B0604020202020204" pitchFamily="34" charset="0"/>
              <a:buNone/>
              <a:tabLst>
                <a:tab pos="3641907" algn="l"/>
              </a:tabLst>
              <a:defRPr lang="en-US" sz="23900" b="1" i="0" kern="1200" spc="0" baseline="0" dirty="0">
                <a:solidFill>
                  <a:schemeClr val="bg1"/>
                </a:solidFill>
                <a:latin typeface="Tahoma" charset="0"/>
                <a:ea typeface="Tahoma" charset="0"/>
                <a:cs typeface="Tahoma" charset="0"/>
              </a:defRPr>
            </a:lvl1pPr>
          </a:lstStyle>
          <a:p>
            <a:pPr marL="0" lvl="0" indent="0" algn="l" defTabSz="2438645" rtl="0" eaLnBrk="1" latinLnBrk="0" hangingPunct="1">
              <a:lnSpc>
                <a:spcPct val="150000"/>
              </a:lnSpc>
              <a:spcBef>
                <a:spcPts val="1272"/>
              </a:spcBef>
              <a:buFont typeface="Arial" panose="020B0604020202020204" pitchFamily="34" charset="0"/>
              <a:buNone/>
            </a:pPr>
            <a:r>
              <a:rPr lang="en-US" dirty="0"/>
              <a:t>HADR</a:t>
            </a:r>
          </a:p>
        </p:txBody>
      </p:sp>
    </p:spTree>
    <p:extLst>
      <p:ext uri="{BB962C8B-B14F-4D97-AF65-F5344CB8AC3E}">
        <p14:creationId xmlns:p14="http://schemas.microsoft.com/office/powerpoint/2010/main" val="295982870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6F6C0F16-82F5-D54A-83FF-921F20E3A8B3}"/>
              </a:ext>
            </a:extLst>
          </p:cNvPr>
          <p:cNvSpPr>
            <a:spLocks/>
          </p:cNvSpPr>
          <p:nvPr userDrawn="1"/>
        </p:nvSpPr>
        <p:spPr bwMode="auto">
          <a:xfrm rot="2700000">
            <a:off x="13636865" y="1418937"/>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83B9303D-45B4-0748-BA71-8D5687E60F1D}"/>
              </a:ext>
            </a:extLst>
          </p:cNvPr>
          <p:cNvSpPr>
            <a:spLocks noGrp="1"/>
          </p:cNvSpPr>
          <p:nvPr>
            <p:ph type="pic" sz="quarter" idx="33"/>
          </p:nvPr>
        </p:nvSpPr>
        <p:spPr>
          <a:xfrm>
            <a:off x="13417731" y="1445900"/>
            <a:ext cx="9966329" cy="11041146"/>
          </a:xfrm>
          <a:custGeom>
            <a:avLst/>
            <a:gdLst>
              <a:gd name="connsiteX0" fmla="*/ 1749043 w 9966329"/>
              <a:gd name="connsiteY0" fmla="*/ 581 h 11041146"/>
              <a:gd name="connsiteX1" fmla="*/ 2987673 w 9966329"/>
              <a:gd name="connsiteY1" fmla="*/ 457000 h 11041146"/>
              <a:gd name="connsiteX2" fmla="*/ 3944579 w 9966329"/>
              <a:gd name="connsiteY2" fmla="*/ 954400 h 11041146"/>
              <a:gd name="connsiteX3" fmla="*/ 3959077 w 9966329"/>
              <a:gd name="connsiteY3" fmla="*/ 954400 h 11041146"/>
              <a:gd name="connsiteX4" fmla="*/ 5346111 w 9966329"/>
              <a:gd name="connsiteY4" fmla="*/ 819184 h 11041146"/>
              <a:gd name="connsiteX5" fmla="*/ 6679981 w 9966329"/>
              <a:gd name="connsiteY5" fmla="*/ 529437 h 11041146"/>
              <a:gd name="connsiteX6" fmla="*/ 9966329 w 9966329"/>
              <a:gd name="connsiteY6" fmla="*/ 3793927 h 11041146"/>
              <a:gd name="connsiteX7" fmla="*/ 6694479 w 9966329"/>
              <a:gd name="connsiteY7" fmla="*/ 7068076 h 11041146"/>
              <a:gd name="connsiteX8" fmla="*/ 6162865 w 9966329"/>
              <a:gd name="connsiteY8" fmla="*/ 7024614 h 11041146"/>
              <a:gd name="connsiteX9" fmla="*/ 5795567 w 9966329"/>
              <a:gd name="connsiteY9" fmla="*/ 7082563 h 11041146"/>
              <a:gd name="connsiteX10" fmla="*/ 5520093 w 9966329"/>
              <a:gd name="connsiteY10" fmla="*/ 7792445 h 11041146"/>
              <a:gd name="connsiteX11" fmla="*/ 5660247 w 9966329"/>
              <a:gd name="connsiteY11" fmla="*/ 8598909 h 11041146"/>
              <a:gd name="connsiteX12" fmla="*/ 3350137 w 9966329"/>
              <a:gd name="connsiteY12" fmla="*/ 11037619 h 11041146"/>
              <a:gd name="connsiteX13" fmla="*/ 774220 w 9966329"/>
              <a:gd name="connsiteY13" fmla="*/ 8463694 h 11041146"/>
              <a:gd name="connsiteX14" fmla="*/ 3214817 w 9966329"/>
              <a:gd name="connsiteY14" fmla="*/ 6155371 h 11041146"/>
              <a:gd name="connsiteX15" fmla="*/ 3509621 w 9966329"/>
              <a:gd name="connsiteY15" fmla="*/ 6174687 h 11041146"/>
              <a:gd name="connsiteX16" fmla="*/ 3789929 w 9966329"/>
              <a:gd name="connsiteY16" fmla="*/ 6107080 h 11041146"/>
              <a:gd name="connsiteX17" fmla="*/ 3920415 w 9966329"/>
              <a:gd name="connsiteY17" fmla="*/ 5527584 h 11041146"/>
              <a:gd name="connsiteX18" fmla="*/ 3437129 w 9966329"/>
              <a:gd name="connsiteY18" fmla="*/ 4093333 h 11041146"/>
              <a:gd name="connsiteX19" fmla="*/ 3171321 w 9966329"/>
              <a:gd name="connsiteY19" fmla="*/ 3591104 h 11041146"/>
              <a:gd name="connsiteX20" fmla="*/ 3166489 w 9966329"/>
              <a:gd name="connsiteY20" fmla="*/ 3586275 h 11041146"/>
              <a:gd name="connsiteX21" fmla="*/ 2427060 w 9966329"/>
              <a:gd name="connsiteY21" fmla="*/ 3465547 h 11041146"/>
              <a:gd name="connsiteX22" fmla="*/ 1793955 w 9966329"/>
              <a:gd name="connsiteY22" fmla="*/ 3581446 h 11041146"/>
              <a:gd name="connsiteX23" fmla="*/ 20293 w 9966329"/>
              <a:gd name="connsiteY23" fmla="*/ 1519408 h 11041146"/>
              <a:gd name="connsiteX24" fmla="*/ 1542646 w 9966329"/>
              <a:gd name="connsiteY24" fmla="*/ 17549 h 11041146"/>
              <a:gd name="connsiteX25" fmla="*/ 1749043 w 9966329"/>
              <a:gd name="connsiteY25" fmla="*/ 581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6329" h="11041146">
                <a:moveTo>
                  <a:pt x="1749043" y="581"/>
                </a:moveTo>
                <a:cubicBezTo>
                  <a:pt x="2225439" y="-11501"/>
                  <a:pt x="2662059" y="165441"/>
                  <a:pt x="2987673" y="457000"/>
                </a:cubicBezTo>
                <a:cubicBezTo>
                  <a:pt x="3263145" y="698456"/>
                  <a:pt x="3591781" y="872305"/>
                  <a:pt x="3944579" y="954400"/>
                </a:cubicBezTo>
                <a:cubicBezTo>
                  <a:pt x="3944579" y="954400"/>
                  <a:pt x="3944579" y="954400"/>
                  <a:pt x="3959077" y="954400"/>
                </a:cubicBezTo>
                <a:cubicBezTo>
                  <a:pt x="4423033" y="1060641"/>
                  <a:pt x="4911153" y="1017179"/>
                  <a:pt x="5346111" y="819184"/>
                </a:cubicBezTo>
                <a:cubicBezTo>
                  <a:pt x="5752071" y="635677"/>
                  <a:pt x="6206361" y="534266"/>
                  <a:pt x="6679981" y="529437"/>
                </a:cubicBezTo>
                <a:cubicBezTo>
                  <a:pt x="8487473" y="524607"/>
                  <a:pt x="9961497" y="1987833"/>
                  <a:pt x="9966329" y="3793927"/>
                </a:cubicBezTo>
                <a:cubicBezTo>
                  <a:pt x="9966329" y="5600021"/>
                  <a:pt x="8501971" y="7068076"/>
                  <a:pt x="6694479" y="7068076"/>
                </a:cubicBezTo>
                <a:cubicBezTo>
                  <a:pt x="6515663" y="7068076"/>
                  <a:pt x="6336847" y="7053589"/>
                  <a:pt x="6162865" y="7024614"/>
                </a:cubicBezTo>
                <a:cubicBezTo>
                  <a:pt x="6037209" y="7005297"/>
                  <a:pt x="5911555" y="7024614"/>
                  <a:pt x="5795567" y="7082563"/>
                </a:cubicBezTo>
                <a:cubicBezTo>
                  <a:pt x="5544257" y="7217779"/>
                  <a:pt x="5428269" y="7522014"/>
                  <a:pt x="5520093" y="7792445"/>
                </a:cubicBezTo>
                <a:cubicBezTo>
                  <a:pt x="5611917" y="8043560"/>
                  <a:pt x="5660247" y="8313991"/>
                  <a:pt x="5660247" y="8598909"/>
                </a:cubicBezTo>
                <a:cubicBezTo>
                  <a:pt x="5660247" y="9902774"/>
                  <a:pt x="4635679" y="10965182"/>
                  <a:pt x="3350137" y="11037619"/>
                </a:cubicBezTo>
                <a:cubicBezTo>
                  <a:pt x="1900278" y="11114885"/>
                  <a:pt x="696894" y="9912432"/>
                  <a:pt x="774220" y="8463694"/>
                </a:cubicBezTo>
                <a:cubicBezTo>
                  <a:pt x="846713" y="7179146"/>
                  <a:pt x="1909943" y="6155371"/>
                  <a:pt x="3214817" y="6155371"/>
                </a:cubicBezTo>
                <a:cubicBezTo>
                  <a:pt x="3316307" y="6155371"/>
                  <a:pt x="3412965" y="6165029"/>
                  <a:pt x="3509621" y="6174687"/>
                </a:cubicBezTo>
                <a:cubicBezTo>
                  <a:pt x="3611113" y="6189175"/>
                  <a:pt x="3707769" y="6165029"/>
                  <a:pt x="3789929" y="6107080"/>
                </a:cubicBezTo>
                <a:cubicBezTo>
                  <a:pt x="3983243" y="5981522"/>
                  <a:pt x="4041237" y="5725578"/>
                  <a:pt x="3920415" y="5527584"/>
                </a:cubicBezTo>
                <a:cubicBezTo>
                  <a:pt x="3654607" y="5102621"/>
                  <a:pt x="3485457" y="4614879"/>
                  <a:pt x="3437129" y="4093333"/>
                </a:cubicBezTo>
                <a:cubicBezTo>
                  <a:pt x="3417797" y="3895339"/>
                  <a:pt x="3325973" y="3716661"/>
                  <a:pt x="3171321" y="3591104"/>
                </a:cubicBezTo>
                <a:cubicBezTo>
                  <a:pt x="3171321" y="3591104"/>
                  <a:pt x="3171321" y="3591104"/>
                  <a:pt x="3166489" y="3586275"/>
                </a:cubicBezTo>
                <a:cubicBezTo>
                  <a:pt x="2963508" y="3417255"/>
                  <a:pt x="2678369" y="3368964"/>
                  <a:pt x="2427060" y="3465547"/>
                </a:cubicBezTo>
                <a:cubicBezTo>
                  <a:pt x="2228913" y="3542813"/>
                  <a:pt x="2016267" y="3581446"/>
                  <a:pt x="1793955" y="3581446"/>
                </a:cubicBezTo>
                <a:cubicBezTo>
                  <a:pt x="711393" y="3581446"/>
                  <a:pt x="-144024" y="2630107"/>
                  <a:pt x="20293" y="1519408"/>
                </a:cubicBezTo>
                <a:cubicBezTo>
                  <a:pt x="126616" y="795039"/>
                  <a:pt x="817716" y="114132"/>
                  <a:pt x="1542646" y="17549"/>
                </a:cubicBezTo>
                <a:cubicBezTo>
                  <a:pt x="1612119" y="7891"/>
                  <a:pt x="1680987" y="2307"/>
                  <a:pt x="1749043" y="58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B74A2E02-1E04-0E48-A208-DDB6BA813B3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DC25016D-E43E-5147-A8BA-663159FCC89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1815245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Mask_53">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600299" y="1242170"/>
            <a:ext cx="22970552" cy="6984776"/>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1AD20A3-6A77-FA4B-A880-1256D242A88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73579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Mask_54">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672307" y="522090"/>
            <a:ext cx="22106456" cy="9865096"/>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2892175-23D2-A544-9A43-8F900A254AE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636127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Mask_55">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672307" y="1314178"/>
            <a:ext cx="23042560" cy="6984776"/>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5C0EC5D6-D7F4-8445-8618-B7357491BB2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774559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Mask_56">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888331" y="1458194"/>
            <a:ext cx="22898544" cy="669674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2EA92C6F-B372-6441-A74F-C25F9FEC96C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062378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Mask_57">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816323" y="1026146"/>
            <a:ext cx="22610512" cy="7560840"/>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5FD84109-B6EF-174F-9B26-F2EC26D4E12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88443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Mask_58">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1104355" y="234058"/>
            <a:ext cx="22394488" cy="943304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B034645-D868-BF4D-A000-6FFCBDFAE1A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892218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Mask_5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744315" y="522090"/>
            <a:ext cx="24818523" cy="7920880"/>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8C8A401B-68F8-4B42-8265-8619A294CE4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563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Mask_6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600299" y="810122"/>
            <a:ext cx="22970552" cy="7302524"/>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EB708AC3-5963-DA4B-9383-1D069C39670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006599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Mask_6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383482" y="882130"/>
            <a:ext cx="23618624" cy="6840759"/>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6F32CBB-17D0-FD49-8CDF-F776BB7385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528759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Mask_6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9027" y="342901"/>
            <a:ext cx="24011926" cy="8532117"/>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8300A4E4-00B3-AF4C-8AE3-511E1A84362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426418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FAD8D1CD-BF43-744A-9327-BA7A955D09D7}"/>
              </a:ext>
            </a:extLst>
          </p:cNvPr>
          <p:cNvSpPr>
            <a:spLocks/>
          </p:cNvSpPr>
          <p:nvPr userDrawn="1"/>
        </p:nvSpPr>
        <p:spPr bwMode="auto">
          <a:xfrm rot="10800000">
            <a:off x="672307"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DD0813D6-3B1D-F94C-9501-40FCE2DC877B}"/>
              </a:ext>
            </a:extLst>
          </p:cNvPr>
          <p:cNvSpPr>
            <a:spLocks noGrp="1"/>
          </p:cNvSpPr>
          <p:nvPr>
            <p:ph type="pic" sz="quarter" idx="33"/>
          </p:nvPr>
        </p:nvSpPr>
        <p:spPr>
          <a:xfrm>
            <a:off x="1637303" y="3153290"/>
            <a:ext cx="12124902" cy="7634784"/>
          </a:xfrm>
          <a:custGeom>
            <a:avLst/>
            <a:gdLst>
              <a:gd name="connsiteX0" fmla="*/ 9715902 w 12124902"/>
              <a:gd name="connsiteY0" fmla="*/ 1052 h 7634784"/>
              <a:gd name="connsiteX1" fmla="*/ 12123849 w 12124902"/>
              <a:gd name="connsiteY1" fmla="*/ 2414911 h 7634784"/>
              <a:gd name="connsiteX2" fmla="*/ 9819900 w 12124902"/>
              <a:gd name="connsiteY2" fmla="*/ 4684899 h 7634784"/>
              <a:gd name="connsiteX3" fmla="*/ 9451908 w 12124902"/>
              <a:gd name="connsiteY3" fmla="*/ 4660920 h 7634784"/>
              <a:gd name="connsiteX4" fmla="*/ 8523929 w 12124902"/>
              <a:gd name="connsiteY4" fmla="*/ 5564119 h 7634784"/>
              <a:gd name="connsiteX5" fmla="*/ 8523929 w 12124902"/>
              <a:gd name="connsiteY5" fmla="*/ 5580105 h 7634784"/>
              <a:gd name="connsiteX6" fmla="*/ 8531928 w 12124902"/>
              <a:gd name="connsiteY6" fmla="*/ 5588097 h 7634784"/>
              <a:gd name="connsiteX7" fmla="*/ 8531928 w 12124902"/>
              <a:gd name="connsiteY7" fmla="*/ 5596091 h 7634784"/>
              <a:gd name="connsiteX8" fmla="*/ 8539928 w 12124902"/>
              <a:gd name="connsiteY8" fmla="*/ 5779927 h 7634784"/>
              <a:gd name="connsiteX9" fmla="*/ 6643970 w 12124902"/>
              <a:gd name="connsiteY9" fmla="*/ 7634283 h 7634784"/>
              <a:gd name="connsiteX10" fmla="*/ 4972007 w 12124902"/>
              <a:gd name="connsiteY10" fmla="*/ 6499289 h 7634784"/>
              <a:gd name="connsiteX11" fmla="*/ 4844010 w 12124902"/>
              <a:gd name="connsiteY11" fmla="*/ 6155595 h 7634784"/>
              <a:gd name="connsiteX12" fmla="*/ 3804033 w 12124902"/>
              <a:gd name="connsiteY12" fmla="*/ 5388275 h 7634784"/>
              <a:gd name="connsiteX13" fmla="*/ 3780034 w 12124902"/>
              <a:gd name="connsiteY13" fmla="*/ 5388275 h 7634784"/>
              <a:gd name="connsiteX14" fmla="*/ 2844054 w 12124902"/>
              <a:gd name="connsiteY14" fmla="*/ 6083658 h 7634784"/>
              <a:gd name="connsiteX15" fmla="*/ 2764056 w 12124902"/>
              <a:gd name="connsiteY15" fmla="*/ 6251509 h 7634784"/>
              <a:gd name="connsiteX16" fmla="*/ 748101 w 12124902"/>
              <a:gd name="connsiteY16" fmla="*/ 6866963 h 7634784"/>
              <a:gd name="connsiteX17" fmla="*/ 124114 w 12124902"/>
              <a:gd name="connsiteY17" fmla="*/ 4996622 h 7634784"/>
              <a:gd name="connsiteX18" fmla="*/ 868098 w 12124902"/>
              <a:gd name="connsiteY18" fmla="*/ 4261274 h 7634784"/>
              <a:gd name="connsiteX19" fmla="*/ 1508084 w 12124902"/>
              <a:gd name="connsiteY19" fmla="*/ 3214203 h 7634784"/>
              <a:gd name="connsiteX20" fmla="*/ 1540083 w 12124902"/>
              <a:gd name="connsiteY20" fmla="*/ 2734628 h 7634784"/>
              <a:gd name="connsiteX21" fmla="*/ 3996029 w 12124902"/>
              <a:gd name="connsiteY21" fmla="*/ 880272 h 7634784"/>
              <a:gd name="connsiteX22" fmla="*/ 5955985 w 12124902"/>
              <a:gd name="connsiteY22" fmla="*/ 2654699 h 7634784"/>
              <a:gd name="connsiteX23" fmla="*/ 6731968 w 12124902"/>
              <a:gd name="connsiteY23" fmla="*/ 3222196 h 7634784"/>
              <a:gd name="connsiteX24" fmla="*/ 6747968 w 12124902"/>
              <a:gd name="connsiteY24" fmla="*/ 3222196 h 7634784"/>
              <a:gd name="connsiteX25" fmla="*/ 7435952 w 12124902"/>
              <a:gd name="connsiteY25" fmla="*/ 2454876 h 7634784"/>
              <a:gd name="connsiteX26" fmla="*/ 7435952 w 12124902"/>
              <a:gd name="connsiteY26" fmla="*/ 2398926 h 7634784"/>
              <a:gd name="connsiteX27" fmla="*/ 9715902 w 12124902"/>
              <a:gd name="connsiteY27" fmla="*/ 1052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2" h="7634784">
                <a:moveTo>
                  <a:pt x="9715902" y="1052"/>
                </a:moveTo>
                <a:cubicBezTo>
                  <a:pt x="11059872" y="-38913"/>
                  <a:pt x="12163848" y="1064109"/>
                  <a:pt x="12123849" y="2414911"/>
                </a:cubicBezTo>
                <a:cubicBezTo>
                  <a:pt x="12083850" y="3661806"/>
                  <a:pt x="11059872" y="4660920"/>
                  <a:pt x="9819900" y="4684899"/>
                </a:cubicBezTo>
                <a:cubicBezTo>
                  <a:pt x="9691903" y="4684899"/>
                  <a:pt x="9571905" y="4676906"/>
                  <a:pt x="9451908" y="4660920"/>
                </a:cubicBezTo>
                <a:cubicBezTo>
                  <a:pt x="8923920" y="4588984"/>
                  <a:pt x="8467930" y="5028594"/>
                  <a:pt x="8523929" y="5564119"/>
                </a:cubicBezTo>
                <a:cubicBezTo>
                  <a:pt x="8523929" y="5564119"/>
                  <a:pt x="8523929" y="5564119"/>
                  <a:pt x="8523929" y="5580105"/>
                </a:cubicBezTo>
                <a:cubicBezTo>
                  <a:pt x="8523929" y="5588097"/>
                  <a:pt x="8531928" y="5588097"/>
                  <a:pt x="8531928" y="5588097"/>
                </a:cubicBezTo>
                <a:cubicBezTo>
                  <a:pt x="8531928" y="5588097"/>
                  <a:pt x="8531928" y="5588097"/>
                  <a:pt x="8531928" y="5596091"/>
                </a:cubicBezTo>
                <a:cubicBezTo>
                  <a:pt x="8531928" y="5652041"/>
                  <a:pt x="8539928" y="5715984"/>
                  <a:pt x="8539928" y="5779927"/>
                </a:cubicBezTo>
                <a:cubicBezTo>
                  <a:pt x="8539928" y="6819006"/>
                  <a:pt x="7683947" y="7658262"/>
                  <a:pt x="6643970" y="7634283"/>
                </a:cubicBezTo>
                <a:cubicBezTo>
                  <a:pt x="5891986" y="7618297"/>
                  <a:pt x="5252001" y="7154709"/>
                  <a:pt x="4972007" y="6499289"/>
                </a:cubicBezTo>
                <a:cubicBezTo>
                  <a:pt x="4916008" y="6387389"/>
                  <a:pt x="4876009" y="6275488"/>
                  <a:pt x="4844010" y="6155595"/>
                </a:cubicBezTo>
                <a:cubicBezTo>
                  <a:pt x="4732012" y="5684013"/>
                  <a:pt x="4292022" y="5372289"/>
                  <a:pt x="3804033" y="5388275"/>
                </a:cubicBezTo>
                <a:cubicBezTo>
                  <a:pt x="3796033" y="5388275"/>
                  <a:pt x="3788033" y="5388275"/>
                  <a:pt x="3780034" y="5388275"/>
                </a:cubicBezTo>
                <a:cubicBezTo>
                  <a:pt x="3356043" y="5404261"/>
                  <a:pt x="2988051" y="5684013"/>
                  <a:pt x="2844054" y="6083658"/>
                </a:cubicBezTo>
                <a:cubicBezTo>
                  <a:pt x="2820055" y="6139609"/>
                  <a:pt x="2796055" y="6195559"/>
                  <a:pt x="2764056" y="6251509"/>
                </a:cubicBezTo>
                <a:cubicBezTo>
                  <a:pt x="2396064" y="6994850"/>
                  <a:pt x="1476085" y="7274602"/>
                  <a:pt x="748101" y="6866963"/>
                </a:cubicBezTo>
                <a:cubicBezTo>
                  <a:pt x="92115" y="6499289"/>
                  <a:pt x="-179879" y="5684013"/>
                  <a:pt x="124114" y="4996622"/>
                </a:cubicBezTo>
                <a:cubicBezTo>
                  <a:pt x="284111" y="4652927"/>
                  <a:pt x="548105" y="4405147"/>
                  <a:pt x="868098" y="4261274"/>
                </a:cubicBezTo>
                <a:cubicBezTo>
                  <a:pt x="1276089" y="4077437"/>
                  <a:pt x="1524084" y="3653813"/>
                  <a:pt x="1508084" y="3214203"/>
                </a:cubicBezTo>
                <a:cubicBezTo>
                  <a:pt x="1500084" y="3054344"/>
                  <a:pt x="1508084" y="2894486"/>
                  <a:pt x="1540083" y="2734628"/>
                </a:cubicBezTo>
                <a:cubicBezTo>
                  <a:pt x="1740079" y="1567663"/>
                  <a:pt x="2820055" y="752386"/>
                  <a:pt x="3996029" y="880272"/>
                </a:cubicBezTo>
                <a:cubicBezTo>
                  <a:pt x="4996006" y="992173"/>
                  <a:pt x="5763989" y="1727521"/>
                  <a:pt x="5955985" y="2654699"/>
                </a:cubicBezTo>
                <a:cubicBezTo>
                  <a:pt x="6035983" y="3006387"/>
                  <a:pt x="6371976" y="3254167"/>
                  <a:pt x="6731968" y="3222196"/>
                </a:cubicBezTo>
                <a:cubicBezTo>
                  <a:pt x="6731968" y="3222196"/>
                  <a:pt x="6731968" y="3222196"/>
                  <a:pt x="6747968" y="3222196"/>
                </a:cubicBezTo>
                <a:cubicBezTo>
                  <a:pt x="7147959" y="3190224"/>
                  <a:pt x="7451952" y="2854522"/>
                  <a:pt x="7435952" y="2454876"/>
                </a:cubicBezTo>
                <a:cubicBezTo>
                  <a:pt x="7435952" y="2438890"/>
                  <a:pt x="7435952" y="2414911"/>
                  <a:pt x="7435952" y="2398926"/>
                </a:cubicBezTo>
                <a:cubicBezTo>
                  <a:pt x="7403954" y="1104074"/>
                  <a:pt x="8411931" y="33023"/>
                  <a:pt x="9715902" y="1052"/>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D27C269-8625-B04F-ABBA-9B4D2F48F31E}"/>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AE27275-460B-4347-A31C-44332261EAA9}"/>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584442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Mask_6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455490" y="738114"/>
            <a:ext cx="23258584" cy="7416824"/>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95DD6D20-1313-674D-AC93-0FA3BC418DB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08141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Mask_6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600299" y="-1134094"/>
            <a:ext cx="23186576" cy="9361040"/>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C4A3D009-1481-A944-BE14-875034460B7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440194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Mask_6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383482" y="522090"/>
            <a:ext cx="23474608" cy="7488832"/>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ACCC2D53-4C71-5146-A87C-ADF75A5104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36998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Mask_6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492287" y="1134099"/>
            <a:ext cx="23402600" cy="6912768"/>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4229E98-807C-394D-9316-92C90BCBB46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25841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Mask_67">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380278" y="1062150"/>
            <a:ext cx="23626618" cy="7128792"/>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6F6B81CB-941D-314D-9ACC-F5CFB488B9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545193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Mask_6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492287" y="738114"/>
            <a:ext cx="23402600" cy="748883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6CDCA8E4-23D1-E240-89A2-599814A7570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7696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Mask_69">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599506" y="522090"/>
            <a:ext cx="23114568" cy="8094612"/>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Номер слайда 1">
            <a:extLst>
              <a:ext uri="{FF2B5EF4-FFF2-40B4-BE49-F238E27FC236}">
                <a16:creationId xmlns:a16="http://schemas.microsoft.com/office/drawing/2014/main" id="{07ECD4CA-DADA-384D-9E13-AB1F90DD734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010562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Mask_7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816323" y="738114"/>
            <a:ext cx="22754528" cy="7734572"/>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D7192E70-4B81-654F-BB57-C9568A49CE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601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_12">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1906390" y="2394298"/>
            <a:ext cx="8631013" cy="266429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YOUR PORTFOLIO</a:t>
            </a:r>
            <a:endParaRPr lang="ru-RU" dirty="0"/>
          </a:p>
        </p:txBody>
      </p:sp>
      <p:sp>
        <p:nvSpPr>
          <p:cNvPr id="26" name="Picture Placeholder 2">
            <a:extLst>
              <a:ext uri="{FF2B5EF4-FFF2-40B4-BE49-F238E27FC236}">
                <a16:creationId xmlns:a16="http://schemas.microsoft.com/office/drawing/2014/main" id="{FF280503-2B30-A040-9DAE-FDA9E454CE5A}"/>
              </a:ext>
            </a:extLst>
          </p:cNvPr>
          <p:cNvSpPr>
            <a:spLocks noGrp="1"/>
          </p:cNvSpPr>
          <p:nvPr>
            <p:ph type="pic" sz="quarter" idx="53"/>
          </p:nvPr>
        </p:nvSpPr>
        <p:spPr>
          <a:xfrm>
            <a:off x="0"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4" name="Picture Placeholder 2">
            <a:extLst>
              <a:ext uri="{FF2B5EF4-FFF2-40B4-BE49-F238E27FC236}">
                <a16:creationId xmlns:a16="http://schemas.microsoft.com/office/drawing/2014/main" id="{EEEB70E9-84EF-8842-9088-0FE85A90C9D6}"/>
              </a:ext>
            </a:extLst>
          </p:cNvPr>
          <p:cNvSpPr>
            <a:spLocks noGrp="1"/>
          </p:cNvSpPr>
          <p:nvPr>
            <p:ph type="pic" sz="quarter" idx="54"/>
          </p:nvPr>
        </p:nvSpPr>
        <p:spPr>
          <a:xfrm>
            <a:off x="6193234"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5" name="Picture Placeholder 2">
            <a:extLst>
              <a:ext uri="{FF2B5EF4-FFF2-40B4-BE49-F238E27FC236}">
                <a16:creationId xmlns:a16="http://schemas.microsoft.com/office/drawing/2014/main" id="{7BED3383-0C74-2645-B3F5-25346B460D3B}"/>
              </a:ext>
            </a:extLst>
          </p:cNvPr>
          <p:cNvSpPr>
            <a:spLocks noGrp="1"/>
          </p:cNvSpPr>
          <p:nvPr>
            <p:ph type="pic" sz="quarter" idx="55"/>
          </p:nvPr>
        </p:nvSpPr>
        <p:spPr>
          <a:xfrm>
            <a:off x="12386468"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6" name="Picture Placeholder 2">
            <a:extLst>
              <a:ext uri="{FF2B5EF4-FFF2-40B4-BE49-F238E27FC236}">
                <a16:creationId xmlns:a16="http://schemas.microsoft.com/office/drawing/2014/main" id="{92F01D6A-F145-074C-8EE1-0A581E2BE201}"/>
              </a:ext>
            </a:extLst>
          </p:cNvPr>
          <p:cNvSpPr>
            <a:spLocks noGrp="1"/>
          </p:cNvSpPr>
          <p:nvPr>
            <p:ph type="pic" sz="quarter" idx="56"/>
          </p:nvPr>
        </p:nvSpPr>
        <p:spPr>
          <a:xfrm>
            <a:off x="18579702" y="8184232"/>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9" name="Picture Placeholder 2">
            <a:extLst>
              <a:ext uri="{FF2B5EF4-FFF2-40B4-BE49-F238E27FC236}">
                <a16:creationId xmlns:a16="http://schemas.microsoft.com/office/drawing/2014/main" id="{ACA902F4-552E-2B42-84CB-14EBECA84C08}"/>
              </a:ext>
            </a:extLst>
          </p:cNvPr>
          <p:cNvSpPr>
            <a:spLocks noGrp="1"/>
          </p:cNvSpPr>
          <p:nvPr>
            <p:ph type="pic" sz="quarter" idx="59"/>
          </p:nvPr>
        </p:nvSpPr>
        <p:spPr>
          <a:xfrm>
            <a:off x="12386468" y="2354288"/>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0" name="Picture Placeholder 2">
            <a:extLst>
              <a:ext uri="{FF2B5EF4-FFF2-40B4-BE49-F238E27FC236}">
                <a16:creationId xmlns:a16="http://schemas.microsoft.com/office/drawing/2014/main" id="{DEC3C5BB-6281-5A4C-A8C6-CCF091277477}"/>
              </a:ext>
            </a:extLst>
          </p:cNvPr>
          <p:cNvSpPr>
            <a:spLocks noGrp="1"/>
          </p:cNvSpPr>
          <p:nvPr>
            <p:ph type="pic" sz="quarter" idx="60"/>
          </p:nvPr>
        </p:nvSpPr>
        <p:spPr>
          <a:xfrm>
            <a:off x="18579702" y="232229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1" name="Текст 3">
            <a:extLst>
              <a:ext uri="{FF2B5EF4-FFF2-40B4-BE49-F238E27FC236}">
                <a16:creationId xmlns:a16="http://schemas.microsoft.com/office/drawing/2014/main" id="{426A134F-5D0D-3D4A-8329-113FE26185C6}"/>
              </a:ext>
            </a:extLst>
          </p:cNvPr>
          <p:cNvSpPr>
            <a:spLocks noGrp="1"/>
          </p:cNvSpPr>
          <p:nvPr>
            <p:ph type="body" sz="quarter" idx="19" hasCustomPrompt="1"/>
          </p:nvPr>
        </p:nvSpPr>
        <p:spPr>
          <a:xfrm>
            <a:off x="1893690" y="5490642"/>
            <a:ext cx="8571706" cy="2304257"/>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3101921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_1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5" y="378074"/>
            <a:ext cx="23618624"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40031418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A9169155-79DE-3E4D-A634-323E92A18418}"/>
              </a:ext>
            </a:extLst>
          </p:cNvPr>
          <p:cNvSpPr>
            <a:spLocks/>
          </p:cNvSpPr>
          <p:nvPr userDrawn="1"/>
        </p:nvSpPr>
        <p:spPr bwMode="auto">
          <a:xfrm>
            <a:off x="10616381"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3B3311CA-947A-A349-B13B-510E84486620}"/>
              </a:ext>
            </a:extLst>
          </p:cNvPr>
          <p:cNvSpPr>
            <a:spLocks noGrp="1"/>
          </p:cNvSpPr>
          <p:nvPr>
            <p:ph type="pic" sz="quarter" idx="33"/>
          </p:nvPr>
        </p:nvSpPr>
        <p:spPr>
          <a:xfrm>
            <a:off x="11440445" y="3137855"/>
            <a:ext cx="12124901" cy="7634784"/>
          </a:xfrm>
          <a:custGeom>
            <a:avLst/>
            <a:gdLst>
              <a:gd name="connsiteX0" fmla="*/ 5480931 w 12124901"/>
              <a:gd name="connsiteY0" fmla="*/ 501 h 7634784"/>
              <a:gd name="connsiteX1" fmla="*/ 7152895 w 12124901"/>
              <a:gd name="connsiteY1" fmla="*/ 1135494 h 7634784"/>
              <a:gd name="connsiteX2" fmla="*/ 7280891 w 12124901"/>
              <a:gd name="connsiteY2" fmla="*/ 1479189 h 7634784"/>
              <a:gd name="connsiteX3" fmla="*/ 8320869 w 12124901"/>
              <a:gd name="connsiteY3" fmla="*/ 2246509 h 7634784"/>
              <a:gd name="connsiteX4" fmla="*/ 8344869 w 12124901"/>
              <a:gd name="connsiteY4" fmla="*/ 2246509 h 7634784"/>
              <a:gd name="connsiteX5" fmla="*/ 9280847 w 12124901"/>
              <a:gd name="connsiteY5" fmla="*/ 1551126 h 7634784"/>
              <a:gd name="connsiteX6" fmla="*/ 9360847 w 12124901"/>
              <a:gd name="connsiteY6" fmla="*/ 1383274 h 7634784"/>
              <a:gd name="connsiteX7" fmla="*/ 11376801 w 12124901"/>
              <a:gd name="connsiteY7" fmla="*/ 767821 h 7634784"/>
              <a:gd name="connsiteX8" fmla="*/ 12000787 w 12124901"/>
              <a:gd name="connsiteY8" fmla="*/ 2638162 h 7634784"/>
              <a:gd name="connsiteX9" fmla="*/ 11256805 w 12124901"/>
              <a:gd name="connsiteY9" fmla="*/ 3373510 h 7634784"/>
              <a:gd name="connsiteX10" fmla="*/ 10616819 w 12124901"/>
              <a:gd name="connsiteY10" fmla="*/ 4420582 h 7634784"/>
              <a:gd name="connsiteX11" fmla="*/ 10584819 w 12124901"/>
              <a:gd name="connsiteY11" fmla="*/ 4900156 h 7634784"/>
              <a:gd name="connsiteX12" fmla="*/ 8128873 w 12124901"/>
              <a:gd name="connsiteY12" fmla="*/ 6754512 h 7634784"/>
              <a:gd name="connsiteX13" fmla="*/ 6168917 w 12124901"/>
              <a:gd name="connsiteY13" fmla="*/ 4980086 h 7634784"/>
              <a:gd name="connsiteX14" fmla="*/ 5392935 w 12124901"/>
              <a:gd name="connsiteY14" fmla="*/ 4412589 h 7634784"/>
              <a:gd name="connsiteX15" fmla="*/ 5376935 w 12124901"/>
              <a:gd name="connsiteY15" fmla="*/ 4412589 h 7634784"/>
              <a:gd name="connsiteX16" fmla="*/ 4688949 w 12124901"/>
              <a:gd name="connsiteY16" fmla="*/ 5179909 h 7634784"/>
              <a:gd name="connsiteX17" fmla="*/ 4688949 w 12124901"/>
              <a:gd name="connsiteY17" fmla="*/ 5235859 h 7634784"/>
              <a:gd name="connsiteX18" fmla="*/ 2409000 w 12124901"/>
              <a:gd name="connsiteY18" fmla="*/ 7633732 h 7634784"/>
              <a:gd name="connsiteX19" fmla="*/ 1053 w 12124901"/>
              <a:gd name="connsiteY19" fmla="*/ 5219873 h 7634784"/>
              <a:gd name="connsiteX20" fmla="*/ 2305002 w 12124901"/>
              <a:gd name="connsiteY20" fmla="*/ 2949886 h 7634784"/>
              <a:gd name="connsiteX21" fmla="*/ 2672994 w 12124901"/>
              <a:gd name="connsiteY21" fmla="*/ 2973865 h 7634784"/>
              <a:gd name="connsiteX22" fmla="*/ 3600973 w 12124901"/>
              <a:gd name="connsiteY22" fmla="*/ 2070665 h 7634784"/>
              <a:gd name="connsiteX23" fmla="*/ 3600973 w 12124901"/>
              <a:gd name="connsiteY23" fmla="*/ 2054679 h 7634784"/>
              <a:gd name="connsiteX24" fmla="*/ 3592974 w 12124901"/>
              <a:gd name="connsiteY24" fmla="*/ 2046686 h 7634784"/>
              <a:gd name="connsiteX25" fmla="*/ 3592974 w 12124901"/>
              <a:gd name="connsiteY25" fmla="*/ 2038693 h 7634784"/>
              <a:gd name="connsiteX26" fmla="*/ 3584974 w 12124901"/>
              <a:gd name="connsiteY26" fmla="*/ 1854856 h 7634784"/>
              <a:gd name="connsiteX27" fmla="*/ 5480931 w 12124901"/>
              <a:gd name="connsiteY27" fmla="*/ 501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1" h="7634784">
                <a:moveTo>
                  <a:pt x="5480931" y="501"/>
                </a:moveTo>
                <a:cubicBezTo>
                  <a:pt x="6232915" y="16487"/>
                  <a:pt x="6872901" y="480075"/>
                  <a:pt x="7152895" y="1135494"/>
                </a:cubicBezTo>
                <a:cubicBezTo>
                  <a:pt x="7208893" y="1247395"/>
                  <a:pt x="7248893" y="1359296"/>
                  <a:pt x="7280891" y="1479189"/>
                </a:cubicBezTo>
                <a:cubicBezTo>
                  <a:pt x="7392889" y="1950771"/>
                  <a:pt x="7832879" y="2262495"/>
                  <a:pt x="8320869" y="2246509"/>
                </a:cubicBezTo>
                <a:cubicBezTo>
                  <a:pt x="8328869" y="2246509"/>
                  <a:pt x="8336869" y="2246509"/>
                  <a:pt x="8344869" y="2246509"/>
                </a:cubicBezTo>
                <a:cubicBezTo>
                  <a:pt x="8768859" y="2230523"/>
                  <a:pt x="9136851" y="1950771"/>
                  <a:pt x="9280847" y="1551126"/>
                </a:cubicBezTo>
                <a:cubicBezTo>
                  <a:pt x="9304847" y="1495175"/>
                  <a:pt x="9328847" y="1439225"/>
                  <a:pt x="9360847" y="1383274"/>
                </a:cubicBezTo>
                <a:cubicBezTo>
                  <a:pt x="9728839" y="639934"/>
                  <a:pt x="10648817" y="360182"/>
                  <a:pt x="11376801" y="767821"/>
                </a:cubicBezTo>
                <a:cubicBezTo>
                  <a:pt x="12032787" y="1135494"/>
                  <a:pt x="12304781" y="1950771"/>
                  <a:pt x="12000787" y="2638162"/>
                </a:cubicBezTo>
                <a:cubicBezTo>
                  <a:pt x="11840791" y="2981857"/>
                  <a:pt x="11576797" y="3229638"/>
                  <a:pt x="11256805" y="3373510"/>
                </a:cubicBezTo>
                <a:cubicBezTo>
                  <a:pt x="10848813" y="3557347"/>
                  <a:pt x="10600819" y="3980971"/>
                  <a:pt x="10616819" y="4420582"/>
                </a:cubicBezTo>
                <a:cubicBezTo>
                  <a:pt x="10624819" y="4580440"/>
                  <a:pt x="10616819" y="4740298"/>
                  <a:pt x="10584819" y="4900156"/>
                </a:cubicBezTo>
                <a:cubicBezTo>
                  <a:pt x="10384823" y="6067122"/>
                  <a:pt x="9304847" y="6882399"/>
                  <a:pt x="8128873" y="6754512"/>
                </a:cubicBezTo>
                <a:cubicBezTo>
                  <a:pt x="7128895" y="6642611"/>
                  <a:pt x="6360913" y="5907263"/>
                  <a:pt x="6168917" y="4980086"/>
                </a:cubicBezTo>
                <a:cubicBezTo>
                  <a:pt x="6088919" y="4628398"/>
                  <a:pt x="5752927" y="4380617"/>
                  <a:pt x="5392935" y="4412589"/>
                </a:cubicBezTo>
                <a:cubicBezTo>
                  <a:pt x="5392935" y="4412589"/>
                  <a:pt x="5392935" y="4412589"/>
                  <a:pt x="5376935" y="4412589"/>
                </a:cubicBezTo>
                <a:cubicBezTo>
                  <a:pt x="4976943" y="4444561"/>
                  <a:pt x="4672950" y="4780263"/>
                  <a:pt x="4688949" y="5179909"/>
                </a:cubicBezTo>
                <a:cubicBezTo>
                  <a:pt x="4688949" y="5195894"/>
                  <a:pt x="4688949" y="5219873"/>
                  <a:pt x="4688949" y="5235859"/>
                </a:cubicBezTo>
                <a:cubicBezTo>
                  <a:pt x="4720949" y="6530710"/>
                  <a:pt x="3712971" y="7601761"/>
                  <a:pt x="2409000" y="7633732"/>
                </a:cubicBezTo>
                <a:cubicBezTo>
                  <a:pt x="1065030" y="7673697"/>
                  <a:pt x="-38946" y="6570675"/>
                  <a:pt x="1053" y="5219873"/>
                </a:cubicBezTo>
                <a:cubicBezTo>
                  <a:pt x="41052" y="3972979"/>
                  <a:pt x="1065030" y="2973865"/>
                  <a:pt x="2305002" y="2949886"/>
                </a:cubicBezTo>
                <a:cubicBezTo>
                  <a:pt x="2432999" y="2949886"/>
                  <a:pt x="2552997" y="2957879"/>
                  <a:pt x="2672994" y="2973865"/>
                </a:cubicBezTo>
                <a:cubicBezTo>
                  <a:pt x="3200982" y="3045801"/>
                  <a:pt x="3656972" y="2606191"/>
                  <a:pt x="3600973" y="2070665"/>
                </a:cubicBezTo>
                <a:cubicBezTo>
                  <a:pt x="3600973" y="2070665"/>
                  <a:pt x="3600973" y="2070665"/>
                  <a:pt x="3600973" y="2054679"/>
                </a:cubicBezTo>
                <a:cubicBezTo>
                  <a:pt x="3600973" y="2046686"/>
                  <a:pt x="3592974" y="2046686"/>
                  <a:pt x="3592974" y="2046686"/>
                </a:cubicBezTo>
                <a:cubicBezTo>
                  <a:pt x="3592974" y="2046686"/>
                  <a:pt x="3592974" y="2046686"/>
                  <a:pt x="3592974" y="2038693"/>
                </a:cubicBezTo>
                <a:cubicBezTo>
                  <a:pt x="3592974" y="1982743"/>
                  <a:pt x="3584974" y="1918800"/>
                  <a:pt x="3584974" y="1854856"/>
                </a:cubicBezTo>
                <a:cubicBezTo>
                  <a:pt x="3584974" y="815778"/>
                  <a:pt x="4440955" y="-23478"/>
                  <a:pt x="5480931" y="50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EB1DC6D7-898B-F847-9AE3-D9AC82A3DE0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4A84458-1958-0C4B-8644-AACDC52039F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3375840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_1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6" y="378074"/>
            <a:ext cx="6624736"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 name="Picture Placeholder 2">
            <a:extLst>
              <a:ext uri="{FF2B5EF4-FFF2-40B4-BE49-F238E27FC236}">
                <a16:creationId xmlns:a16="http://schemas.microsoft.com/office/drawing/2014/main" id="{6B281938-4EBB-A04F-99D6-12EE6F4D6C09}"/>
              </a:ext>
            </a:extLst>
          </p:cNvPr>
          <p:cNvSpPr>
            <a:spLocks noGrp="1"/>
          </p:cNvSpPr>
          <p:nvPr>
            <p:ph type="pic" sz="quarter" idx="54"/>
          </p:nvPr>
        </p:nvSpPr>
        <p:spPr>
          <a:xfrm>
            <a:off x="7369051" y="378074"/>
            <a:ext cx="6624736" cy="64087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 name="Picture Placeholder 2">
            <a:extLst>
              <a:ext uri="{FF2B5EF4-FFF2-40B4-BE49-F238E27FC236}">
                <a16:creationId xmlns:a16="http://schemas.microsoft.com/office/drawing/2014/main" id="{26231FD2-7B16-F74E-8153-51D64E2D2AEB}"/>
              </a:ext>
            </a:extLst>
          </p:cNvPr>
          <p:cNvSpPr>
            <a:spLocks noGrp="1"/>
          </p:cNvSpPr>
          <p:nvPr>
            <p:ph type="pic" sz="quarter" idx="55"/>
          </p:nvPr>
        </p:nvSpPr>
        <p:spPr>
          <a:xfrm>
            <a:off x="7369051" y="7136457"/>
            <a:ext cx="6624736" cy="622433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 name="Заголовок 1">
            <a:extLst>
              <a:ext uri="{FF2B5EF4-FFF2-40B4-BE49-F238E27FC236}">
                <a16:creationId xmlns:a16="http://schemas.microsoft.com/office/drawing/2014/main" id="{82CD2230-7771-0341-B9F2-B3BEF20F1E3D}"/>
              </a:ext>
            </a:extLst>
          </p:cNvPr>
          <p:cNvSpPr>
            <a:spLocks noGrp="1"/>
          </p:cNvSpPr>
          <p:nvPr>
            <p:ph type="title" hasCustomPrompt="1"/>
          </p:nvPr>
        </p:nvSpPr>
        <p:spPr>
          <a:xfrm>
            <a:off x="15649445" y="1386185"/>
            <a:ext cx="6769277" cy="4104977"/>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6" name="Текст 3">
            <a:extLst>
              <a:ext uri="{FF2B5EF4-FFF2-40B4-BE49-F238E27FC236}">
                <a16:creationId xmlns:a16="http://schemas.microsoft.com/office/drawing/2014/main" id="{4CA5CBB1-809F-1A46-8E36-D2B27FE2DE12}"/>
              </a:ext>
            </a:extLst>
          </p:cNvPr>
          <p:cNvSpPr>
            <a:spLocks noGrp="1"/>
          </p:cNvSpPr>
          <p:nvPr>
            <p:ph type="body" sz="quarter" idx="14" hasCustomPrompt="1"/>
          </p:nvPr>
        </p:nvSpPr>
        <p:spPr>
          <a:xfrm>
            <a:off x="15649575" y="6858794"/>
            <a:ext cx="6769148" cy="5078446"/>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933F1402-E811-2347-B3A8-5CFE02EB06E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181780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8831"/>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71EE6583-C491-2A43-8484-927241B50E9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6556243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7230183"/>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0755309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_17">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84A9BBBD-3AB8-F74D-A92E-60BAE221DBEE}"/>
              </a:ext>
            </a:extLst>
          </p:cNvPr>
          <p:cNvSpPr>
            <a:spLocks noGrp="1"/>
          </p:cNvSpPr>
          <p:nvPr>
            <p:ph type="pic" sz="quarter" idx="57"/>
          </p:nvPr>
        </p:nvSpPr>
        <p:spPr>
          <a:xfrm>
            <a:off x="10830510" y="0"/>
            <a:ext cx="12361962" cy="13717588"/>
          </a:xfrm>
          <a:custGeom>
            <a:avLst/>
            <a:gdLst>
              <a:gd name="connsiteX0" fmla="*/ 5075 w 12361962"/>
              <a:gd name="connsiteY0" fmla="*/ 10387186 h 13717588"/>
              <a:gd name="connsiteX1" fmla="*/ 3900126 w 12361962"/>
              <a:gd name="connsiteY1" fmla="*/ 10387186 h 13717588"/>
              <a:gd name="connsiteX2" fmla="*/ 3900126 w 12361962"/>
              <a:gd name="connsiteY2" fmla="*/ 13717588 h 13717588"/>
              <a:gd name="connsiteX3" fmla="*/ 5075 w 12361962"/>
              <a:gd name="connsiteY3" fmla="*/ 13717588 h 13717588"/>
              <a:gd name="connsiteX4" fmla="*/ 8635886 w 12361962"/>
              <a:gd name="connsiteY4" fmla="*/ 8298953 h 13717588"/>
              <a:gd name="connsiteX5" fmla="*/ 12361962 w 12361962"/>
              <a:gd name="connsiteY5" fmla="*/ 8298953 h 13717588"/>
              <a:gd name="connsiteX6" fmla="*/ 12361962 w 12361962"/>
              <a:gd name="connsiteY6" fmla="*/ 13717588 h 13717588"/>
              <a:gd name="connsiteX7" fmla="*/ 8635886 w 12361962"/>
              <a:gd name="connsiteY7" fmla="*/ 13717588 h 13717588"/>
              <a:gd name="connsiteX8" fmla="*/ 4320480 w 12361962"/>
              <a:gd name="connsiteY8" fmla="*/ 4986585 h 13717588"/>
              <a:gd name="connsiteX9" fmla="*/ 8215530 w 12361962"/>
              <a:gd name="connsiteY9" fmla="*/ 4986585 h 13717588"/>
              <a:gd name="connsiteX10" fmla="*/ 8215530 w 12361962"/>
              <a:gd name="connsiteY10" fmla="*/ 13717588 h 13717588"/>
              <a:gd name="connsiteX11" fmla="*/ 4320480 w 12361962"/>
              <a:gd name="connsiteY11" fmla="*/ 13717588 h 13717588"/>
              <a:gd name="connsiteX12" fmla="*/ 4315405 w 12361962"/>
              <a:gd name="connsiteY12" fmla="*/ 1 h 13717588"/>
              <a:gd name="connsiteX13" fmla="*/ 8210456 w 12361962"/>
              <a:gd name="connsiteY13" fmla="*/ 1 h 13717588"/>
              <a:gd name="connsiteX14" fmla="*/ 8210456 w 12361962"/>
              <a:gd name="connsiteY14" fmla="*/ 4626546 h 13717588"/>
              <a:gd name="connsiteX15" fmla="*/ 4315405 w 12361962"/>
              <a:gd name="connsiteY15" fmla="*/ 4626546 h 13717588"/>
              <a:gd name="connsiteX16" fmla="*/ 8625734 w 12361962"/>
              <a:gd name="connsiteY16" fmla="*/ 1 h 13717588"/>
              <a:gd name="connsiteX17" fmla="*/ 12351810 w 12361962"/>
              <a:gd name="connsiteY17" fmla="*/ 1 h 13717588"/>
              <a:gd name="connsiteX18" fmla="*/ 12351810 w 12361962"/>
              <a:gd name="connsiteY18" fmla="*/ 7938914 h 13717588"/>
              <a:gd name="connsiteX19" fmla="*/ 8625734 w 12361962"/>
              <a:gd name="connsiteY19" fmla="*/ 7938914 h 13717588"/>
              <a:gd name="connsiteX20" fmla="*/ 0 w 12361962"/>
              <a:gd name="connsiteY20" fmla="*/ 0 h 13717588"/>
              <a:gd name="connsiteX21" fmla="*/ 3895051 w 12361962"/>
              <a:gd name="connsiteY21" fmla="*/ 0 h 13717588"/>
              <a:gd name="connsiteX22" fmla="*/ 3895051 w 12361962"/>
              <a:gd name="connsiteY22" fmla="*/ 10027145 h 13717588"/>
              <a:gd name="connsiteX23" fmla="*/ 0 w 12361962"/>
              <a:gd name="connsiteY23"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61962" h="13717588">
                <a:moveTo>
                  <a:pt x="5075" y="10387186"/>
                </a:moveTo>
                <a:lnTo>
                  <a:pt x="3900126" y="10387186"/>
                </a:lnTo>
                <a:lnTo>
                  <a:pt x="3900126" y="13717588"/>
                </a:lnTo>
                <a:lnTo>
                  <a:pt x="5075" y="13717588"/>
                </a:lnTo>
                <a:close/>
                <a:moveTo>
                  <a:pt x="8635886" y="8298953"/>
                </a:moveTo>
                <a:lnTo>
                  <a:pt x="12361962" y="8298953"/>
                </a:lnTo>
                <a:lnTo>
                  <a:pt x="12361962" y="13717588"/>
                </a:lnTo>
                <a:lnTo>
                  <a:pt x="8635886" y="13717588"/>
                </a:lnTo>
                <a:close/>
                <a:moveTo>
                  <a:pt x="4320480" y="4986585"/>
                </a:moveTo>
                <a:lnTo>
                  <a:pt x="8215530" y="4986585"/>
                </a:lnTo>
                <a:lnTo>
                  <a:pt x="8215530" y="13717588"/>
                </a:lnTo>
                <a:lnTo>
                  <a:pt x="4320480" y="13717588"/>
                </a:lnTo>
                <a:close/>
                <a:moveTo>
                  <a:pt x="4315405" y="1"/>
                </a:moveTo>
                <a:lnTo>
                  <a:pt x="8210456" y="1"/>
                </a:lnTo>
                <a:lnTo>
                  <a:pt x="8210456" y="4626546"/>
                </a:lnTo>
                <a:lnTo>
                  <a:pt x="4315405" y="4626546"/>
                </a:lnTo>
                <a:close/>
                <a:moveTo>
                  <a:pt x="8625734" y="1"/>
                </a:moveTo>
                <a:lnTo>
                  <a:pt x="12351810" y="1"/>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85456C87-9795-3742-A2F8-97F38F36626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4404062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folio_18">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AD01A830-8F98-8D49-819A-3B2C942A1801}"/>
              </a:ext>
            </a:extLst>
          </p:cNvPr>
          <p:cNvSpPr>
            <a:spLocks noGrp="1"/>
          </p:cNvSpPr>
          <p:nvPr>
            <p:ph type="pic" sz="quarter" idx="56"/>
          </p:nvPr>
        </p:nvSpPr>
        <p:spPr>
          <a:xfrm>
            <a:off x="965413" y="0"/>
            <a:ext cx="12346736" cy="13717589"/>
          </a:xfrm>
          <a:custGeom>
            <a:avLst/>
            <a:gdLst>
              <a:gd name="connsiteX0" fmla="*/ 4315405 w 12346736"/>
              <a:gd name="connsiteY0" fmla="*/ 4986587 h 13717589"/>
              <a:gd name="connsiteX1" fmla="*/ 8210456 w 12346736"/>
              <a:gd name="connsiteY1" fmla="*/ 4986587 h 13717589"/>
              <a:gd name="connsiteX2" fmla="*/ 8210456 w 12346736"/>
              <a:gd name="connsiteY2" fmla="*/ 13717589 h 13717589"/>
              <a:gd name="connsiteX3" fmla="*/ 4315405 w 12346736"/>
              <a:gd name="connsiteY3" fmla="*/ 13717589 h 13717589"/>
              <a:gd name="connsiteX4" fmla="*/ 0 w 12346736"/>
              <a:gd name="connsiteY4" fmla="*/ 2682330 h 13717589"/>
              <a:gd name="connsiteX5" fmla="*/ 3895051 w 12346736"/>
              <a:gd name="connsiteY5" fmla="*/ 2682330 h 13717589"/>
              <a:gd name="connsiteX6" fmla="*/ 3895051 w 12346736"/>
              <a:gd name="connsiteY6" fmla="*/ 13717589 h 13717589"/>
              <a:gd name="connsiteX7" fmla="*/ 0 w 12346736"/>
              <a:gd name="connsiteY7" fmla="*/ 13717589 h 13717589"/>
              <a:gd name="connsiteX8" fmla="*/ 4310330 w 12346736"/>
              <a:gd name="connsiteY8" fmla="*/ 2 h 13717589"/>
              <a:gd name="connsiteX9" fmla="*/ 8205381 w 12346736"/>
              <a:gd name="connsiteY9" fmla="*/ 2 h 13717589"/>
              <a:gd name="connsiteX10" fmla="*/ 8205381 w 12346736"/>
              <a:gd name="connsiteY10" fmla="*/ 4626547 h 13717589"/>
              <a:gd name="connsiteX11" fmla="*/ 4310330 w 12346736"/>
              <a:gd name="connsiteY11" fmla="*/ 4626547 h 13717589"/>
              <a:gd name="connsiteX12" fmla="*/ 8620660 w 12346736"/>
              <a:gd name="connsiteY12" fmla="*/ 0 h 13717589"/>
              <a:gd name="connsiteX13" fmla="*/ 12346736 w 12346736"/>
              <a:gd name="connsiteY13" fmla="*/ 0 h 13717589"/>
              <a:gd name="connsiteX14" fmla="*/ 12346736 w 12346736"/>
              <a:gd name="connsiteY14" fmla="*/ 11179273 h 13717589"/>
              <a:gd name="connsiteX15" fmla="*/ 8620660 w 12346736"/>
              <a:gd name="connsiteY15" fmla="*/ 11179273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6736" h="13717589">
                <a:moveTo>
                  <a:pt x="4315405" y="4986587"/>
                </a:moveTo>
                <a:lnTo>
                  <a:pt x="8210456" y="4986587"/>
                </a:lnTo>
                <a:lnTo>
                  <a:pt x="8210456" y="13717589"/>
                </a:lnTo>
                <a:lnTo>
                  <a:pt x="4315405" y="13717589"/>
                </a:lnTo>
                <a:close/>
                <a:moveTo>
                  <a:pt x="0" y="2682330"/>
                </a:moveTo>
                <a:lnTo>
                  <a:pt x="3895051" y="2682330"/>
                </a:lnTo>
                <a:lnTo>
                  <a:pt x="3895051" y="13717589"/>
                </a:lnTo>
                <a:lnTo>
                  <a:pt x="0" y="13717589"/>
                </a:lnTo>
                <a:close/>
                <a:moveTo>
                  <a:pt x="4310330" y="2"/>
                </a:moveTo>
                <a:lnTo>
                  <a:pt x="8205381" y="2"/>
                </a:lnTo>
                <a:lnTo>
                  <a:pt x="8205381" y="4626547"/>
                </a:lnTo>
                <a:lnTo>
                  <a:pt x="4310330" y="4626547"/>
                </a:lnTo>
                <a:close/>
                <a:moveTo>
                  <a:pt x="8620660" y="0"/>
                </a:moveTo>
                <a:lnTo>
                  <a:pt x="12346736" y="0"/>
                </a:lnTo>
                <a:lnTo>
                  <a:pt x="12346736" y="11179273"/>
                </a:lnTo>
                <a:lnTo>
                  <a:pt x="8620660" y="11179273"/>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BCEF69-80FF-B74E-A340-A8B2C201D9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551441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_19">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D8D3845A-51EC-D543-BDAD-B887B539BB93}"/>
              </a:ext>
            </a:extLst>
          </p:cNvPr>
          <p:cNvSpPr>
            <a:spLocks noGrp="1"/>
          </p:cNvSpPr>
          <p:nvPr>
            <p:ph type="pic" sz="quarter" idx="57"/>
          </p:nvPr>
        </p:nvSpPr>
        <p:spPr>
          <a:xfrm>
            <a:off x="10830510" y="0"/>
            <a:ext cx="12361962" cy="13717588"/>
          </a:xfrm>
          <a:custGeom>
            <a:avLst/>
            <a:gdLst>
              <a:gd name="connsiteX0" fmla="*/ 8635886 w 12361962"/>
              <a:gd name="connsiteY0" fmla="*/ 8298953 h 13717588"/>
              <a:gd name="connsiteX1" fmla="*/ 12361962 w 12361962"/>
              <a:gd name="connsiteY1" fmla="*/ 8298953 h 13717588"/>
              <a:gd name="connsiteX2" fmla="*/ 12361962 w 12361962"/>
              <a:gd name="connsiteY2" fmla="*/ 13717588 h 13717588"/>
              <a:gd name="connsiteX3" fmla="*/ 8635886 w 12361962"/>
              <a:gd name="connsiteY3" fmla="*/ 13717588 h 13717588"/>
              <a:gd name="connsiteX4" fmla="*/ 4320480 w 12361962"/>
              <a:gd name="connsiteY4" fmla="*/ 2322289 h 13717588"/>
              <a:gd name="connsiteX5" fmla="*/ 8215530 w 12361962"/>
              <a:gd name="connsiteY5" fmla="*/ 2322289 h 13717588"/>
              <a:gd name="connsiteX6" fmla="*/ 8215530 w 12361962"/>
              <a:gd name="connsiteY6" fmla="*/ 13717588 h 13717588"/>
              <a:gd name="connsiteX7" fmla="*/ 4320480 w 12361962"/>
              <a:gd name="connsiteY7" fmla="*/ 13717588 h 13717588"/>
              <a:gd name="connsiteX8" fmla="*/ 8625734 w 12361962"/>
              <a:gd name="connsiteY8" fmla="*/ 0 h 13717588"/>
              <a:gd name="connsiteX9" fmla="*/ 12351810 w 12361962"/>
              <a:gd name="connsiteY9" fmla="*/ 0 h 13717588"/>
              <a:gd name="connsiteX10" fmla="*/ 12351810 w 12361962"/>
              <a:gd name="connsiteY10" fmla="*/ 7938914 h 13717588"/>
              <a:gd name="connsiteX11" fmla="*/ 8625734 w 12361962"/>
              <a:gd name="connsiteY11" fmla="*/ 7938914 h 13717588"/>
              <a:gd name="connsiteX12" fmla="*/ 0 w 12361962"/>
              <a:gd name="connsiteY12" fmla="*/ 0 h 13717588"/>
              <a:gd name="connsiteX13" fmla="*/ 3895051 w 12361962"/>
              <a:gd name="connsiteY13" fmla="*/ 0 h 13717588"/>
              <a:gd name="connsiteX14" fmla="*/ 3895051 w 12361962"/>
              <a:gd name="connsiteY14" fmla="*/ 10027145 h 13717588"/>
              <a:gd name="connsiteX15" fmla="*/ 0 w 12361962"/>
              <a:gd name="connsiteY15"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1962" h="13717588">
                <a:moveTo>
                  <a:pt x="8635886" y="8298953"/>
                </a:moveTo>
                <a:lnTo>
                  <a:pt x="12361962" y="8298953"/>
                </a:lnTo>
                <a:lnTo>
                  <a:pt x="12361962" y="13717588"/>
                </a:lnTo>
                <a:lnTo>
                  <a:pt x="8635886" y="13717588"/>
                </a:lnTo>
                <a:close/>
                <a:moveTo>
                  <a:pt x="4320480" y="2322289"/>
                </a:moveTo>
                <a:lnTo>
                  <a:pt x="8215530" y="2322289"/>
                </a:lnTo>
                <a:lnTo>
                  <a:pt x="8215530" y="13717588"/>
                </a:lnTo>
                <a:lnTo>
                  <a:pt x="4320480" y="13717588"/>
                </a:lnTo>
                <a:close/>
                <a:moveTo>
                  <a:pt x="8625734" y="0"/>
                </a:moveTo>
                <a:lnTo>
                  <a:pt x="12351810" y="0"/>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527BE3F7-73D6-FD4A-A2F2-AB32ABFD65D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2901239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_20">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070F2859-3B3A-F548-B8EC-170DF2589752}"/>
              </a:ext>
            </a:extLst>
          </p:cNvPr>
          <p:cNvSpPr>
            <a:spLocks noGrp="1"/>
          </p:cNvSpPr>
          <p:nvPr>
            <p:ph type="pic" sz="quarter" idx="57"/>
          </p:nvPr>
        </p:nvSpPr>
        <p:spPr>
          <a:xfrm>
            <a:off x="10835585" y="2"/>
            <a:ext cx="12356887" cy="13717587"/>
          </a:xfrm>
          <a:custGeom>
            <a:avLst/>
            <a:gdLst>
              <a:gd name="connsiteX0" fmla="*/ 0 w 12356887"/>
              <a:gd name="connsiteY0" fmla="*/ 7794896 h 13717587"/>
              <a:gd name="connsiteX1" fmla="*/ 3895051 w 12356887"/>
              <a:gd name="connsiteY1" fmla="*/ 7794896 h 13717587"/>
              <a:gd name="connsiteX2" fmla="*/ 3895051 w 12356887"/>
              <a:gd name="connsiteY2" fmla="*/ 13717587 h 13717587"/>
              <a:gd name="connsiteX3" fmla="*/ 0 w 12356887"/>
              <a:gd name="connsiteY3" fmla="*/ 13717587 h 13717587"/>
              <a:gd name="connsiteX4" fmla="*/ 4315405 w 12356887"/>
              <a:gd name="connsiteY4" fmla="*/ 4986584 h 13717587"/>
              <a:gd name="connsiteX5" fmla="*/ 8210455 w 12356887"/>
              <a:gd name="connsiteY5" fmla="*/ 4986584 h 13717587"/>
              <a:gd name="connsiteX6" fmla="*/ 8210455 w 12356887"/>
              <a:gd name="connsiteY6" fmla="*/ 13717587 h 13717587"/>
              <a:gd name="connsiteX7" fmla="*/ 4315405 w 12356887"/>
              <a:gd name="connsiteY7" fmla="*/ 13717587 h 13717587"/>
              <a:gd name="connsiteX8" fmla="*/ 8630811 w 12356887"/>
              <a:gd name="connsiteY8" fmla="*/ 2898353 h 13717587"/>
              <a:gd name="connsiteX9" fmla="*/ 12356887 w 12356887"/>
              <a:gd name="connsiteY9" fmla="*/ 2898353 h 13717587"/>
              <a:gd name="connsiteX10" fmla="*/ 12356887 w 12356887"/>
              <a:gd name="connsiteY10" fmla="*/ 13717587 h 13717587"/>
              <a:gd name="connsiteX11" fmla="*/ 8630811 w 12356887"/>
              <a:gd name="connsiteY11" fmla="*/ 13717587 h 13717587"/>
              <a:gd name="connsiteX12" fmla="*/ 4310330 w 12356887"/>
              <a:gd name="connsiteY12" fmla="*/ 0 h 13717587"/>
              <a:gd name="connsiteX13" fmla="*/ 8205381 w 12356887"/>
              <a:gd name="connsiteY13" fmla="*/ 0 h 13717587"/>
              <a:gd name="connsiteX14" fmla="*/ 8205381 w 12356887"/>
              <a:gd name="connsiteY14" fmla="*/ 4626546 h 13717587"/>
              <a:gd name="connsiteX15" fmla="*/ 4310330 w 12356887"/>
              <a:gd name="connsiteY15" fmla="*/ 4626546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6887" h="13717587">
                <a:moveTo>
                  <a:pt x="0" y="7794896"/>
                </a:moveTo>
                <a:lnTo>
                  <a:pt x="3895051" y="7794896"/>
                </a:lnTo>
                <a:lnTo>
                  <a:pt x="3895051" y="13717587"/>
                </a:lnTo>
                <a:lnTo>
                  <a:pt x="0" y="13717587"/>
                </a:lnTo>
                <a:close/>
                <a:moveTo>
                  <a:pt x="4315405" y="4986584"/>
                </a:moveTo>
                <a:lnTo>
                  <a:pt x="8210455" y="4986584"/>
                </a:lnTo>
                <a:lnTo>
                  <a:pt x="8210455" y="13717587"/>
                </a:lnTo>
                <a:lnTo>
                  <a:pt x="4315405" y="13717587"/>
                </a:lnTo>
                <a:close/>
                <a:moveTo>
                  <a:pt x="8630811" y="2898353"/>
                </a:moveTo>
                <a:lnTo>
                  <a:pt x="12356887" y="2898353"/>
                </a:lnTo>
                <a:lnTo>
                  <a:pt x="12356887" y="13717587"/>
                </a:lnTo>
                <a:lnTo>
                  <a:pt x="8630811" y="13717587"/>
                </a:lnTo>
                <a:close/>
                <a:moveTo>
                  <a:pt x="4310330" y="0"/>
                </a:moveTo>
                <a:lnTo>
                  <a:pt x="8205381" y="0"/>
                </a:lnTo>
                <a:lnTo>
                  <a:pt x="8205381" y="4626546"/>
                </a:lnTo>
                <a:lnTo>
                  <a:pt x="4310330" y="462654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CD52A6BB-EE21-AA4E-98D3-AA3D0FD84B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2790550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_2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13B46B83-47EB-2640-BFEE-F7381A6DC9F1}"/>
              </a:ext>
            </a:extLst>
          </p:cNvPr>
          <p:cNvSpPr>
            <a:spLocks noGrp="1"/>
          </p:cNvSpPr>
          <p:nvPr>
            <p:ph type="pic" sz="quarter" idx="57"/>
          </p:nvPr>
        </p:nvSpPr>
        <p:spPr>
          <a:xfrm>
            <a:off x="960340" y="0"/>
            <a:ext cx="12361960" cy="13717588"/>
          </a:xfrm>
          <a:custGeom>
            <a:avLst/>
            <a:gdLst>
              <a:gd name="connsiteX0" fmla="*/ 8635884 w 12361960"/>
              <a:gd name="connsiteY0" fmla="*/ 8298953 h 13717588"/>
              <a:gd name="connsiteX1" fmla="*/ 12361960 w 12361960"/>
              <a:gd name="connsiteY1" fmla="*/ 8298953 h 13717588"/>
              <a:gd name="connsiteX2" fmla="*/ 12361960 w 12361960"/>
              <a:gd name="connsiteY2" fmla="*/ 13717588 h 13717588"/>
              <a:gd name="connsiteX3" fmla="*/ 8635884 w 12361960"/>
              <a:gd name="connsiteY3" fmla="*/ 13717588 h 13717588"/>
              <a:gd name="connsiteX4" fmla="*/ 4320479 w 12361960"/>
              <a:gd name="connsiteY4" fmla="*/ 4986585 h 13717588"/>
              <a:gd name="connsiteX5" fmla="*/ 8215530 w 12361960"/>
              <a:gd name="connsiteY5" fmla="*/ 4986585 h 13717588"/>
              <a:gd name="connsiteX6" fmla="*/ 8215530 w 12361960"/>
              <a:gd name="connsiteY6" fmla="*/ 13717588 h 13717588"/>
              <a:gd name="connsiteX7" fmla="*/ 4320479 w 12361960"/>
              <a:gd name="connsiteY7" fmla="*/ 13717588 h 13717588"/>
              <a:gd name="connsiteX8" fmla="*/ 8625734 w 12361960"/>
              <a:gd name="connsiteY8" fmla="*/ 2178272 h 13717588"/>
              <a:gd name="connsiteX9" fmla="*/ 12351810 w 12361960"/>
              <a:gd name="connsiteY9" fmla="*/ 2178272 h 13717588"/>
              <a:gd name="connsiteX10" fmla="*/ 12351810 w 12361960"/>
              <a:gd name="connsiteY10" fmla="*/ 7938913 h 13717588"/>
              <a:gd name="connsiteX11" fmla="*/ 8625734 w 12361960"/>
              <a:gd name="connsiteY11" fmla="*/ 7938913 h 13717588"/>
              <a:gd name="connsiteX12" fmla="*/ 4315405 w 12361960"/>
              <a:gd name="connsiteY12" fmla="*/ 1 h 13717588"/>
              <a:gd name="connsiteX13" fmla="*/ 8210455 w 12361960"/>
              <a:gd name="connsiteY13" fmla="*/ 1 h 13717588"/>
              <a:gd name="connsiteX14" fmla="*/ 8210455 w 12361960"/>
              <a:gd name="connsiteY14" fmla="*/ 4626546 h 13717588"/>
              <a:gd name="connsiteX15" fmla="*/ 4315405 w 12361960"/>
              <a:gd name="connsiteY15" fmla="*/ 4626546 h 13717588"/>
              <a:gd name="connsiteX16" fmla="*/ 0 w 12361960"/>
              <a:gd name="connsiteY16" fmla="*/ 0 h 13717588"/>
              <a:gd name="connsiteX17" fmla="*/ 3895050 w 12361960"/>
              <a:gd name="connsiteY17" fmla="*/ 0 h 13717588"/>
              <a:gd name="connsiteX18" fmla="*/ 3895050 w 12361960"/>
              <a:gd name="connsiteY18" fmla="*/ 10027145 h 13717588"/>
              <a:gd name="connsiteX19" fmla="*/ 0 w 12361960"/>
              <a:gd name="connsiteY19"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1960" h="13717588">
                <a:moveTo>
                  <a:pt x="8635884" y="8298953"/>
                </a:moveTo>
                <a:lnTo>
                  <a:pt x="12361960" y="8298953"/>
                </a:lnTo>
                <a:lnTo>
                  <a:pt x="12361960" y="13717588"/>
                </a:lnTo>
                <a:lnTo>
                  <a:pt x="8635884" y="13717588"/>
                </a:lnTo>
                <a:close/>
                <a:moveTo>
                  <a:pt x="4320479" y="4986585"/>
                </a:moveTo>
                <a:lnTo>
                  <a:pt x="8215530" y="4986585"/>
                </a:lnTo>
                <a:lnTo>
                  <a:pt x="8215530" y="13717588"/>
                </a:lnTo>
                <a:lnTo>
                  <a:pt x="4320479" y="13717588"/>
                </a:lnTo>
                <a:close/>
                <a:moveTo>
                  <a:pt x="8625734" y="2178272"/>
                </a:moveTo>
                <a:lnTo>
                  <a:pt x="12351810" y="2178272"/>
                </a:lnTo>
                <a:lnTo>
                  <a:pt x="12351810" y="7938913"/>
                </a:lnTo>
                <a:lnTo>
                  <a:pt x="8625734" y="7938913"/>
                </a:lnTo>
                <a:close/>
                <a:moveTo>
                  <a:pt x="4315405" y="1"/>
                </a:moveTo>
                <a:lnTo>
                  <a:pt x="8210455" y="1"/>
                </a:lnTo>
                <a:lnTo>
                  <a:pt x="8210455" y="4626546"/>
                </a:lnTo>
                <a:lnTo>
                  <a:pt x="4315405" y="4626546"/>
                </a:lnTo>
                <a:close/>
                <a:moveTo>
                  <a:pt x="0" y="0"/>
                </a:moveTo>
                <a:lnTo>
                  <a:pt x="3895050" y="0"/>
                </a:lnTo>
                <a:lnTo>
                  <a:pt x="3895050"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D3234F6-6E8D-1F45-985E-334B4C62EBE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76336266"/>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rtfolio_2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B7011833-E145-A54C-97DA-2488CE9ED519}"/>
              </a:ext>
            </a:extLst>
          </p:cNvPr>
          <p:cNvSpPr>
            <a:spLocks noGrp="1"/>
          </p:cNvSpPr>
          <p:nvPr>
            <p:ph type="pic" sz="quarter" idx="56"/>
          </p:nvPr>
        </p:nvSpPr>
        <p:spPr>
          <a:xfrm>
            <a:off x="960339" y="0"/>
            <a:ext cx="12351811" cy="13717589"/>
          </a:xfrm>
          <a:custGeom>
            <a:avLst/>
            <a:gdLst>
              <a:gd name="connsiteX0" fmla="*/ 4320480 w 12351811"/>
              <a:gd name="connsiteY0" fmla="*/ 8226946 h 13717589"/>
              <a:gd name="connsiteX1" fmla="*/ 8215531 w 12351811"/>
              <a:gd name="connsiteY1" fmla="*/ 8226946 h 13717589"/>
              <a:gd name="connsiteX2" fmla="*/ 8215531 w 12351811"/>
              <a:gd name="connsiteY2" fmla="*/ 13717589 h 13717589"/>
              <a:gd name="connsiteX3" fmla="*/ 4320480 w 12351811"/>
              <a:gd name="connsiteY3" fmla="*/ 13717589 h 13717589"/>
              <a:gd name="connsiteX4" fmla="*/ 0 w 12351811"/>
              <a:gd name="connsiteY4" fmla="*/ 1 h 13717589"/>
              <a:gd name="connsiteX5" fmla="*/ 3895051 w 12351811"/>
              <a:gd name="connsiteY5" fmla="*/ 1 h 13717589"/>
              <a:gd name="connsiteX6" fmla="*/ 3895051 w 12351811"/>
              <a:gd name="connsiteY6" fmla="*/ 4914578 h 13717589"/>
              <a:gd name="connsiteX7" fmla="*/ 0 w 12351811"/>
              <a:gd name="connsiteY7" fmla="*/ 4914578 h 13717589"/>
              <a:gd name="connsiteX8" fmla="*/ 4315405 w 12351811"/>
              <a:gd name="connsiteY8" fmla="*/ 0 h 13717589"/>
              <a:gd name="connsiteX9" fmla="*/ 8210456 w 12351811"/>
              <a:gd name="connsiteY9" fmla="*/ 0 h 13717589"/>
              <a:gd name="connsiteX10" fmla="*/ 8210456 w 12351811"/>
              <a:gd name="connsiteY10" fmla="*/ 7938913 h 13717589"/>
              <a:gd name="connsiteX11" fmla="*/ 4315405 w 12351811"/>
              <a:gd name="connsiteY11" fmla="*/ 7938913 h 13717589"/>
              <a:gd name="connsiteX12" fmla="*/ 8625735 w 12351811"/>
              <a:gd name="connsiteY12" fmla="*/ 0 h 13717589"/>
              <a:gd name="connsiteX13" fmla="*/ 12351811 w 12351811"/>
              <a:gd name="connsiteY13" fmla="*/ 0 h 13717589"/>
              <a:gd name="connsiteX14" fmla="*/ 12351811 w 12351811"/>
              <a:gd name="connsiteY14" fmla="*/ 13717587 h 13717589"/>
              <a:gd name="connsiteX15" fmla="*/ 8625735 w 12351811"/>
              <a:gd name="connsiteY15" fmla="*/ 13717587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1811" h="13717589">
                <a:moveTo>
                  <a:pt x="4320480" y="8226946"/>
                </a:moveTo>
                <a:lnTo>
                  <a:pt x="8215531" y="8226946"/>
                </a:lnTo>
                <a:lnTo>
                  <a:pt x="8215531" y="13717589"/>
                </a:lnTo>
                <a:lnTo>
                  <a:pt x="4320480" y="13717589"/>
                </a:lnTo>
                <a:close/>
                <a:moveTo>
                  <a:pt x="0" y="1"/>
                </a:moveTo>
                <a:lnTo>
                  <a:pt x="3895051" y="1"/>
                </a:lnTo>
                <a:lnTo>
                  <a:pt x="3895051" y="4914578"/>
                </a:lnTo>
                <a:lnTo>
                  <a:pt x="0" y="4914578"/>
                </a:lnTo>
                <a:close/>
                <a:moveTo>
                  <a:pt x="4315405" y="0"/>
                </a:moveTo>
                <a:lnTo>
                  <a:pt x="8210456" y="0"/>
                </a:lnTo>
                <a:lnTo>
                  <a:pt x="8210456" y="7938913"/>
                </a:lnTo>
                <a:lnTo>
                  <a:pt x="4315405" y="7938913"/>
                </a:lnTo>
                <a:close/>
                <a:moveTo>
                  <a:pt x="8625735" y="0"/>
                </a:moveTo>
                <a:lnTo>
                  <a:pt x="12351811" y="0"/>
                </a:lnTo>
                <a:lnTo>
                  <a:pt x="12351811" y="13717587"/>
                </a:lnTo>
                <a:lnTo>
                  <a:pt x="8625735"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47A0FB-FF1D-294A-AD14-482FBCA8FED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983273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cial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13057683" y="1818234"/>
            <a:ext cx="10297144" cy="10258343"/>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b="1"/>
          </a:p>
        </p:txBody>
      </p:sp>
      <p:sp>
        <p:nvSpPr>
          <p:cNvPr id="8" name="Номер слайда 1">
            <a:extLst>
              <a:ext uri="{FF2B5EF4-FFF2-40B4-BE49-F238E27FC236}">
                <a16:creationId xmlns:a16="http://schemas.microsoft.com/office/drawing/2014/main" id="{6E7A9D69-AA00-324D-9241-A8E3D1195AC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782647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Main_0">
    <p:bg>
      <p:bgPr>
        <a:solidFill>
          <a:schemeClr val="bg1"/>
        </a:solidFill>
        <a:effectLst/>
      </p:bgPr>
    </p:bg>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1AF4738E-FB28-D546-8E5E-A531F0ADE8D7}"/>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519D042-A997-C548-BF3B-18C4884C9C3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Номер слайда 1">
            <a:extLst>
              <a:ext uri="{FF2B5EF4-FFF2-40B4-BE49-F238E27FC236}">
                <a16:creationId xmlns:a16="http://schemas.microsoft.com/office/drawing/2014/main" id="{1B53AE72-F3DB-894D-AD68-D999252F724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11" name="Полилиния 10">
            <a:extLst>
              <a:ext uri="{FF2B5EF4-FFF2-40B4-BE49-F238E27FC236}">
                <a16:creationId xmlns:a16="http://schemas.microsoft.com/office/drawing/2014/main" id="{E998076E-A4D3-6E41-A585-B1F6C847514C}"/>
              </a:ext>
            </a:extLst>
          </p:cNvPr>
          <p:cNvSpPr>
            <a:spLocks/>
          </p:cNvSpPr>
          <p:nvPr userDrawn="1"/>
        </p:nvSpPr>
        <p:spPr bwMode="auto">
          <a:xfrm>
            <a:off x="11631661" y="5608686"/>
            <a:ext cx="12755515" cy="8108903"/>
          </a:xfrm>
          <a:custGeom>
            <a:avLst/>
            <a:gdLst>
              <a:gd name="connsiteX0" fmla="*/ 6656959 w 12755515"/>
              <a:gd name="connsiteY0" fmla="*/ 346 h 8108903"/>
              <a:gd name="connsiteX1" fmla="*/ 7260387 w 12755515"/>
              <a:gd name="connsiteY1" fmla="*/ 36331 h 8108903"/>
              <a:gd name="connsiteX2" fmla="*/ 12656403 w 12755515"/>
              <a:gd name="connsiteY2" fmla="*/ 4921559 h 8108903"/>
              <a:gd name="connsiteX3" fmla="*/ 12705801 w 12755515"/>
              <a:gd name="connsiteY3" fmla="*/ 5099634 h 8108903"/>
              <a:gd name="connsiteX4" fmla="*/ 12755515 w 12755515"/>
              <a:gd name="connsiteY4" fmla="*/ 5230194 h 8108903"/>
              <a:gd name="connsiteX5" fmla="*/ 12755515 w 12755515"/>
              <a:gd name="connsiteY5" fmla="*/ 8108903 h 8108903"/>
              <a:gd name="connsiteX6" fmla="*/ 0 w 12755515"/>
              <a:gd name="connsiteY6" fmla="*/ 8108903 h 8108903"/>
              <a:gd name="connsiteX7" fmla="*/ 75191 w 12755515"/>
              <a:gd name="connsiteY7" fmla="*/ 7973602 h 8108903"/>
              <a:gd name="connsiteX8" fmla="*/ 410749 w 12755515"/>
              <a:gd name="connsiteY8" fmla="*/ 6461947 h 8108903"/>
              <a:gd name="connsiteX9" fmla="*/ 498847 w 12755515"/>
              <a:gd name="connsiteY9" fmla="*/ 5141615 h 8108903"/>
              <a:gd name="connsiteX10" fmla="*/ 6656959 w 12755515"/>
              <a:gd name="connsiteY10" fmla="*/ 346 h 810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515" h="8108903">
                <a:moveTo>
                  <a:pt x="6656959" y="346"/>
                </a:moveTo>
                <a:cubicBezTo>
                  <a:pt x="6856719" y="2463"/>
                  <a:pt x="7058037" y="14325"/>
                  <a:pt x="7260387" y="36331"/>
                </a:cubicBezTo>
                <a:cubicBezTo>
                  <a:pt x="10013455" y="344408"/>
                  <a:pt x="12127815" y="2368917"/>
                  <a:pt x="12656403" y="4921559"/>
                </a:cubicBezTo>
                <a:cubicBezTo>
                  <a:pt x="12670169" y="4982075"/>
                  <a:pt x="12686687" y="5041472"/>
                  <a:pt x="12705801" y="5099634"/>
                </a:cubicBezTo>
                <a:lnTo>
                  <a:pt x="12755515" y="5230194"/>
                </a:lnTo>
                <a:lnTo>
                  <a:pt x="12755515" y="8108903"/>
                </a:lnTo>
                <a:lnTo>
                  <a:pt x="0" y="8108903"/>
                </a:lnTo>
                <a:lnTo>
                  <a:pt x="75191" y="7973602"/>
                </a:lnTo>
                <a:cubicBezTo>
                  <a:pt x="310176" y="7512539"/>
                  <a:pt x="430020" y="6991455"/>
                  <a:pt x="410749" y="6461947"/>
                </a:cubicBezTo>
                <a:cubicBezTo>
                  <a:pt x="388724" y="6021836"/>
                  <a:pt x="410749" y="5581725"/>
                  <a:pt x="498847" y="5141615"/>
                </a:cubicBezTo>
                <a:cubicBezTo>
                  <a:pt x="1015047" y="2129607"/>
                  <a:pt x="3660575" y="-31406"/>
                  <a:pt x="6656959" y="346"/>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2" name="Рисунок 7">
            <a:extLst>
              <a:ext uri="{FF2B5EF4-FFF2-40B4-BE49-F238E27FC236}">
                <a16:creationId xmlns:a16="http://schemas.microsoft.com/office/drawing/2014/main" id="{4FFD5A0F-2DA5-3047-8F47-AB28134A1D0F}"/>
              </a:ext>
            </a:extLst>
          </p:cNvPr>
          <p:cNvSpPr>
            <a:spLocks noGrp="1"/>
          </p:cNvSpPr>
          <p:nvPr>
            <p:ph type="pic" sz="quarter" idx="33"/>
          </p:nvPr>
        </p:nvSpPr>
        <p:spPr>
          <a:xfrm>
            <a:off x="11479155" y="4912747"/>
            <a:ext cx="12908021" cy="8804840"/>
          </a:xfrm>
          <a:custGeom>
            <a:avLst/>
            <a:gdLst>
              <a:gd name="connsiteX0" fmla="*/ 11408529 w 12908021"/>
              <a:gd name="connsiteY0" fmla="*/ 1153 h 8804840"/>
              <a:gd name="connsiteX1" fmla="*/ 12648425 w 12908021"/>
              <a:gd name="connsiteY1" fmla="*/ 212555 h 8804840"/>
              <a:gd name="connsiteX2" fmla="*/ 12908021 w 12908021"/>
              <a:gd name="connsiteY2" fmla="*/ 308532 h 8804840"/>
              <a:gd name="connsiteX3" fmla="*/ 12908021 w 12908021"/>
              <a:gd name="connsiteY3" fmla="*/ 8804840 h 8804840"/>
              <a:gd name="connsiteX4" fmla="*/ 0 w 12908021"/>
              <a:gd name="connsiteY4" fmla="*/ 8804840 h 8804840"/>
              <a:gd name="connsiteX5" fmla="*/ 77773 w 12908021"/>
              <a:gd name="connsiteY5" fmla="*/ 8708529 h 8804840"/>
              <a:gd name="connsiteX6" fmla="*/ 4104272 w 12908021"/>
              <a:gd name="connsiteY6" fmla="*/ 6784386 h 8804840"/>
              <a:gd name="connsiteX7" fmla="*/ 4950609 w 12908021"/>
              <a:gd name="connsiteY7" fmla="*/ 6839534 h 8804840"/>
              <a:gd name="connsiteX8" fmla="*/ 7084851 w 12908021"/>
              <a:gd name="connsiteY8" fmla="*/ 4762284 h 8804840"/>
              <a:gd name="connsiteX9" fmla="*/ 7084851 w 12908021"/>
              <a:gd name="connsiteY9" fmla="*/ 4725518 h 8804840"/>
              <a:gd name="connsiteX10" fmla="*/ 7066451 w 12908021"/>
              <a:gd name="connsiteY10" fmla="*/ 4707136 h 8804840"/>
              <a:gd name="connsiteX11" fmla="*/ 7066451 w 12908021"/>
              <a:gd name="connsiteY11" fmla="*/ 4688753 h 8804840"/>
              <a:gd name="connsiteX12" fmla="*/ 7048053 w 12908021"/>
              <a:gd name="connsiteY12" fmla="*/ 4265950 h 8804840"/>
              <a:gd name="connsiteX13" fmla="*/ 11408529 w 12908021"/>
              <a:gd name="connsiteY13" fmla="*/ 1153 h 880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08021" h="8804840">
                <a:moveTo>
                  <a:pt x="11408529" y="1153"/>
                </a:moveTo>
                <a:cubicBezTo>
                  <a:pt x="11840897" y="10345"/>
                  <a:pt x="12257167" y="83876"/>
                  <a:pt x="12648425" y="212555"/>
                </a:cubicBezTo>
                <a:lnTo>
                  <a:pt x="12908021" y="308532"/>
                </a:lnTo>
                <a:lnTo>
                  <a:pt x="12908021" y="8804840"/>
                </a:lnTo>
                <a:lnTo>
                  <a:pt x="0" y="8804840"/>
                </a:lnTo>
                <a:lnTo>
                  <a:pt x="77773" y="8708529"/>
                </a:lnTo>
                <a:cubicBezTo>
                  <a:pt x="1053189" y="7556030"/>
                  <a:pt x="2500141" y="6815407"/>
                  <a:pt x="4104272" y="6784386"/>
                </a:cubicBezTo>
                <a:cubicBezTo>
                  <a:pt x="4398649" y="6784386"/>
                  <a:pt x="4674629" y="6802768"/>
                  <a:pt x="4950609" y="6839534"/>
                </a:cubicBezTo>
                <a:cubicBezTo>
                  <a:pt x="6164919" y="7004979"/>
                  <a:pt x="7213641" y="5993928"/>
                  <a:pt x="7084851" y="4762284"/>
                </a:cubicBezTo>
                <a:cubicBezTo>
                  <a:pt x="7084851" y="4762284"/>
                  <a:pt x="7084851" y="4762284"/>
                  <a:pt x="7084851" y="4725518"/>
                </a:cubicBezTo>
                <a:cubicBezTo>
                  <a:pt x="7084851" y="4707136"/>
                  <a:pt x="7066451" y="4707136"/>
                  <a:pt x="7066451" y="4707136"/>
                </a:cubicBezTo>
                <a:cubicBezTo>
                  <a:pt x="7066451" y="4707136"/>
                  <a:pt x="7066451" y="4707136"/>
                  <a:pt x="7066451" y="4688753"/>
                </a:cubicBezTo>
                <a:cubicBezTo>
                  <a:pt x="7066451" y="4560074"/>
                  <a:pt x="7048053" y="4413012"/>
                  <a:pt x="7048053" y="4265950"/>
                </a:cubicBezTo>
                <a:cubicBezTo>
                  <a:pt x="7048053" y="1876193"/>
                  <a:pt x="9016707" y="-53995"/>
                  <a:pt x="11408529" y="115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17099670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cial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12985675" y="3452608"/>
            <a:ext cx="10297144" cy="7006586"/>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1F03BC63-6EAB-9144-BDA6-31E7EA946F3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4844485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cial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12470818" y="2293018"/>
            <a:ext cx="11326858" cy="9325767"/>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8" name="Номер слайда 1">
            <a:extLst>
              <a:ext uri="{FF2B5EF4-FFF2-40B4-BE49-F238E27FC236}">
                <a16:creationId xmlns:a16="http://schemas.microsoft.com/office/drawing/2014/main" id="{6DC10E33-E113-E74F-AC2B-297F34A542E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415095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cial_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11545515" y="3258394"/>
            <a:ext cx="12025199" cy="7439233"/>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p>
            <a:pPr marL="914492" indent="-914492" defTabSz="2438645">
              <a:spcBef>
                <a:spcPct val="20000"/>
              </a:spcBef>
              <a:buFont typeface="Arial" panose="020B0604020202020204" pitchFamily="34" charset="0"/>
              <a:buChar char="•"/>
            </a:pPr>
            <a:endParaRPr lang="ru-RU" sz="9600" b="1">
              <a:solidFill>
                <a:schemeClr val="lt1"/>
              </a:solidFill>
            </a:endParaRPr>
          </a:p>
        </p:txBody>
      </p:sp>
      <p:sp>
        <p:nvSpPr>
          <p:cNvPr id="7" name="Номер слайда 1">
            <a:extLst>
              <a:ext uri="{FF2B5EF4-FFF2-40B4-BE49-F238E27FC236}">
                <a16:creationId xmlns:a16="http://schemas.microsoft.com/office/drawing/2014/main" id="{856EDD07-83E8-2B41-B45B-A75A315255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8947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cial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12350717" y="1458194"/>
            <a:ext cx="10932102" cy="10891477"/>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
        <p:nvSpPr>
          <p:cNvPr id="8" name="Номер слайда 1">
            <a:extLst>
              <a:ext uri="{FF2B5EF4-FFF2-40B4-BE49-F238E27FC236}">
                <a16:creationId xmlns:a16="http://schemas.microsoft.com/office/drawing/2014/main" id="{F0D45ADD-F565-014B-A6DD-1728FBE30A2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785605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cial_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13129691" y="937096"/>
            <a:ext cx="9721080" cy="12042378"/>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7" name="Номер слайда 1">
            <a:extLst>
              <a:ext uri="{FF2B5EF4-FFF2-40B4-BE49-F238E27FC236}">
                <a16:creationId xmlns:a16="http://schemas.microsoft.com/office/drawing/2014/main" id="{B71DA418-0416-6E4C-A6FC-1E235EDE36C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752379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cial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0" y="1911089"/>
            <a:ext cx="6792987" cy="11806499"/>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200"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Номер слайда 1">
            <a:extLst>
              <a:ext uri="{FF2B5EF4-FFF2-40B4-BE49-F238E27FC236}">
                <a16:creationId xmlns:a16="http://schemas.microsoft.com/office/drawing/2014/main" id="{35C0CC87-2282-5049-A6F5-8F16C778D43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431830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cial_8">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0" y="1742612"/>
            <a:ext cx="10537403" cy="11950514"/>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8" name="Заголовок 1">
            <a:extLst>
              <a:ext uri="{FF2B5EF4-FFF2-40B4-BE49-F238E27FC236}">
                <a16:creationId xmlns:a16="http://schemas.microsoft.com/office/drawing/2014/main" id="{BF76A8C0-06DD-1745-85F1-407373AFF24C}"/>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9F60FDF-0BCE-444A-9E94-E1541083376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CF9EB3B5-CE25-FA44-A77A-11D829ADB80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05181873"/>
      </p:ext>
    </p:extLst>
  </p:cSld>
  <p:clrMapOvr>
    <a:masterClrMapping/>
  </p:clrMapOvr>
  <p:extLst>
    <p:ext uri="{DCECCB84-F9BA-43D5-87BE-67443E8EF086}">
      <p15:sldGuideLst xmlns:p15="http://schemas.microsoft.com/office/powerpoint/2012/main">
        <p15:guide id="1" orient="horz" pos="2869">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cial_9">
    <p:spTree>
      <p:nvGrpSpPr>
        <p:cNvPr id="1" name=""/>
        <p:cNvGrpSpPr/>
        <p:nvPr/>
      </p:nvGrpSpPr>
      <p:grpSpPr>
        <a:xfrm>
          <a:off x="0" y="0"/>
          <a:ext cx="0" cy="0"/>
          <a:chOff x="0" y="0"/>
          <a:chExt cx="0" cy="0"/>
        </a:xfrm>
      </p:grpSpPr>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9274" y="1782819"/>
            <a:ext cx="10679823" cy="11950514"/>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9" name="Заголовок 1">
            <a:extLst>
              <a:ext uri="{FF2B5EF4-FFF2-40B4-BE49-F238E27FC236}">
                <a16:creationId xmlns:a16="http://schemas.microsoft.com/office/drawing/2014/main" id="{0D698217-4A94-3845-972A-DE498CE7D889}"/>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F9E37294-1B85-AA4B-857B-0862C6B846E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48C180B3-07AA-FB4A-AC5D-34480EB4045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7082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_10">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17576" y="2039257"/>
            <a:ext cx="11401499" cy="11662483"/>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2517EDD7-6D3B-D34C-88D2-2D3266A192B6}"/>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45A50AC-9DB6-F447-BC75-073680A7962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D163AFC2-87C8-4946-B3C4-CCA3EE6605B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26903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cial_11">
    <p:bg>
      <p:bgPr>
        <a:solidFill>
          <a:schemeClr val="tx2"/>
        </a:solidFill>
        <a:effectLst/>
      </p:bgPr>
    </p:bg>
    <p:spTree>
      <p:nvGrpSpPr>
        <p:cNvPr id="1" name=""/>
        <p:cNvGrpSpPr/>
        <p:nvPr/>
      </p:nvGrpSpPr>
      <p:grpSpPr>
        <a:xfrm>
          <a:off x="0" y="0"/>
          <a:ext cx="0" cy="0"/>
          <a:chOff x="0" y="0"/>
          <a:chExt cx="0" cy="0"/>
        </a:xfrm>
      </p:grpSpPr>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0" y="1911090"/>
            <a:ext cx="10177364" cy="11806498"/>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A8C00925-FA83-7D45-9BF5-C36AFCF9190B}"/>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0EA515A1-8F85-3C4E-A8E9-19B1FE39D71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C955D0D-290C-2A49-A7C2-BFF035F4CF9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2717578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81E7625C-E295-6048-BAAC-E7F42A42BA0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54F173-65EF-5940-B2FD-D7A8AEC2A57D}"/>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4A4B30B5-E2DE-E148-B187-2E45814FDED3}"/>
              </a:ext>
            </a:extLst>
          </p:cNvPr>
          <p:cNvSpPr>
            <a:spLocks/>
          </p:cNvSpPr>
          <p:nvPr userDrawn="1"/>
        </p:nvSpPr>
        <p:spPr bwMode="auto">
          <a:xfrm>
            <a:off x="0" y="3221508"/>
            <a:ext cx="16884725" cy="10496081"/>
          </a:xfrm>
          <a:custGeom>
            <a:avLst/>
            <a:gdLst>
              <a:gd name="connsiteX0" fmla="*/ 10597308 w 16884725"/>
              <a:gd name="connsiteY0" fmla="*/ 1728 h 10496081"/>
              <a:gd name="connsiteX1" fmla="*/ 16881824 w 16884725"/>
              <a:gd name="connsiteY1" fmla="*/ 6648571 h 10496081"/>
              <a:gd name="connsiteX2" fmla="*/ 15548092 w 16884725"/>
              <a:gd name="connsiteY2" fmla="*/ 10360357 h 10496081"/>
              <a:gd name="connsiteX3" fmla="*/ 15438488 w 16884725"/>
              <a:gd name="connsiteY3" fmla="*/ 10496081 h 10496081"/>
              <a:gd name="connsiteX4" fmla="*/ 0 w 16884725"/>
              <a:gd name="connsiteY4" fmla="*/ 10496081 h 10496081"/>
              <a:gd name="connsiteX5" fmla="*/ 0 w 16884725"/>
              <a:gd name="connsiteY5" fmla="*/ 7617373 h 10496081"/>
              <a:gd name="connsiteX6" fmla="*/ 15270 w 16884725"/>
              <a:gd name="connsiteY6" fmla="*/ 7657474 h 10496081"/>
              <a:gd name="connsiteX7" fmla="*/ 2037272 w 16884725"/>
              <a:gd name="connsiteY7" fmla="*/ 8871130 h 10496081"/>
              <a:gd name="connsiteX8" fmla="*/ 2081320 w 16884725"/>
              <a:gd name="connsiteY8" fmla="*/ 8871130 h 10496081"/>
              <a:gd name="connsiteX9" fmla="*/ 3975432 w 16884725"/>
              <a:gd name="connsiteY9" fmla="*/ 6758599 h 10496081"/>
              <a:gd name="connsiteX10" fmla="*/ 3975432 w 16884725"/>
              <a:gd name="connsiteY10" fmla="*/ 6604560 h 10496081"/>
              <a:gd name="connsiteX11" fmla="*/ 10252432 w 16884725"/>
              <a:gd name="connsiteY11" fmla="*/ 2899 h 10496081"/>
              <a:gd name="connsiteX12" fmla="*/ 10597308 w 16884725"/>
              <a:gd name="connsiteY12" fmla="*/ 1728 h 1049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84725" h="10496081">
                <a:moveTo>
                  <a:pt x="10597308" y="1728"/>
                </a:moveTo>
                <a:cubicBezTo>
                  <a:pt x="14139444" y="83335"/>
                  <a:pt x="16988508" y="3045852"/>
                  <a:pt x="16881824" y="6648571"/>
                </a:cubicBezTo>
                <a:cubicBezTo>
                  <a:pt x="16837088" y="8043172"/>
                  <a:pt x="16345256" y="9325188"/>
                  <a:pt x="15548092" y="10360357"/>
                </a:cubicBezTo>
                <a:lnTo>
                  <a:pt x="15438488" y="10496081"/>
                </a:lnTo>
                <a:lnTo>
                  <a:pt x="0" y="10496081"/>
                </a:lnTo>
                <a:lnTo>
                  <a:pt x="0" y="7617373"/>
                </a:lnTo>
                <a:lnTo>
                  <a:pt x="15270" y="7657474"/>
                </a:lnTo>
                <a:cubicBezTo>
                  <a:pt x="353424" y="8435489"/>
                  <a:pt x="1170054" y="8948149"/>
                  <a:pt x="2037272" y="8871130"/>
                </a:cubicBezTo>
                <a:cubicBezTo>
                  <a:pt x="2037272" y="8871130"/>
                  <a:pt x="2037272" y="8871130"/>
                  <a:pt x="2081320" y="8871130"/>
                </a:cubicBezTo>
                <a:cubicBezTo>
                  <a:pt x="3182548" y="8783108"/>
                  <a:pt x="4019480" y="7858875"/>
                  <a:pt x="3975432" y="6758599"/>
                </a:cubicBezTo>
                <a:cubicBezTo>
                  <a:pt x="3975432" y="6714587"/>
                  <a:pt x="3975432" y="6648571"/>
                  <a:pt x="3975432" y="6604560"/>
                </a:cubicBezTo>
                <a:cubicBezTo>
                  <a:pt x="3887332" y="3039664"/>
                  <a:pt x="6662428" y="90921"/>
                  <a:pt x="10252432" y="2899"/>
                </a:cubicBezTo>
                <a:cubicBezTo>
                  <a:pt x="10368060" y="-539"/>
                  <a:pt x="10483044" y="-904"/>
                  <a:pt x="10597308" y="1728"/>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C1616CE8-F0FC-7543-9F91-AB4260FF6F88}"/>
              </a:ext>
            </a:extLst>
          </p:cNvPr>
          <p:cNvSpPr>
            <a:spLocks noGrp="1"/>
          </p:cNvSpPr>
          <p:nvPr>
            <p:ph type="pic" sz="quarter" idx="33"/>
          </p:nvPr>
        </p:nvSpPr>
        <p:spPr>
          <a:xfrm>
            <a:off x="-1" y="5221279"/>
            <a:ext cx="13780848" cy="8496308"/>
          </a:xfrm>
          <a:custGeom>
            <a:avLst/>
            <a:gdLst>
              <a:gd name="connsiteX0" fmla="*/ 0 w 13780848"/>
              <a:gd name="connsiteY0" fmla="*/ 0 h 8496308"/>
              <a:gd name="connsiteX1" fmla="*/ 29020 w 13780848"/>
              <a:gd name="connsiteY1" fmla="*/ 10729 h 8496308"/>
              <a:gd name="connsiteX2" fmla="*/ 2345824 w 13780848"/>
              <a:gd name="connsiteY2" fmla="*/ 2302971 h 8496308"/>
              <a:gd name="connsiteX3" fmla="*/ 2640204 w 13780848"/>
              <a:gd name="connsiteY3" fmla="*/ 3093429 h 8496308"/>
              <a:gd name="connsiteX4" fmla="*/ 5032026 w 13780848"/>
              <a:gd name="connsiteY4" fmla="*/ 4858172 h 8496308"/>
              <a:gd name="connsiteX5" fmla="*/ 5087222 w 13780848"/>
              <a:gd name="connsiteY5" fmla="*/ 4858172 h 8496308"/>
              <a:gd name="connsiteX6" fmla="*/ 7239862 w 13780848"/>
              <a:gd name="connsiteY6" fmla="*/ 3258874 h 8496308"/>
              <a:gd name="connsiteX7" fmla="*/ 7423848 w 13780848"/>
              <a:gd name="connsiteY7" fmla="*/ 2872836 h 8496308"/>
              <a:gd name="connsiteX8" fmla="*/ 12060304 w 13780848"/>
              <a:gd name="connsiteY8" fmla="*/ 1457365 h 8496308"/>
              <a:gd name="connsiteX9" fmla="*/ 13495400 w 13780848"/>
              <a:gd name="connsiteY9" fmla="*/ 5758927 h 8496308"/>
              <a:gd name="connsiteX10" fmla="*/ 11784328 w 13780848"/>
              <a:gd name="connsiteY10" fmla="*/ 7450139 h 8496308"/>
              <a:gd name="connsiteX11" fmla="*/ 10682708 w 13780848"/>
              <a:gd name="connsiteY11" fmla="*/ 8433615 h 8496308"/>
              <a:gd name="connsiteX12" fmla="*/ 10647868 w 13780848"/>
              <a:gd name="connsiteY12" fmla="*/ 8496308 h 8496308"/>
              <a:gd name="connsiteX13" fmla="*/ 0 w 13780848"/>
              <a:gd name="connsiteY13" fmla="*/ 8496308 h 84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80848" h="8496308">
                <a:moveTo>
                  <a:pt x="0" y="0"/>
                </a:moveTo>
                <a:lnTo>
                  <a:pt x="29020" y="10729"/>
                </a:lnTo>
                <a:cubicBezTo>
                  <a:pt x="1069060" y="438846"/>
                  <a:pt x="1903108" y="1266644"/>
                  <a:pt x="2345824" y="2302971"/>
                </a:cubicBezTo>
                <a:cubicBezTo>
                  <a:pt x="2474616" y="2560329"/>
                  <a:pt x="2566608" y="2817688"/>
                  <a:pt x="2640204" y="3093429"/>
                </a:cubicBezTo>
                <a:cubicBezTo>
                  <a:pt x="2897784" y="4178011"/>
                  <a:pt x="3909708" y="4894938"/>
                  <a:pt x="5032026" y="4858172"/>
                </a:cubicBezTo>
                <a:cubicBezTo>
                  <a:pt x="5050424" y="4858172"/>
                  <a:pt x="5068824" y="4858172"/>
                  <a:pt x="5087222" y="4858172"/>
                </a:cubicBezTo>
                <a:cubicBezTo>
                  <a:pt x="6062350" y="4821407"/>
                  <a:pt x="6908688" y="4178011"/>
                  <a:pt x="7239862" y="3258874"/>
                </a:cubicBezTo>
                <a:cubicBezTo>
                  <a:pt x="7295058" y="3130194"/>
                  <a:pt x="7350254" y="3001515"/>
                  <a:pt x="7423848" y="2872836"/>
                </a:cubicBezTo>
                <a:cubicBezTo>
                  <a:pt x="8270186" y="1163241"/>
                  <a:pt x="10386028" y="519845"/>
                  <a:pt x="12060304" y="1457365"/>
                </a:cubicBezTo>
                <a:cubicBezTo>
                  <a:pt x="13568996" y="2302971"/>
                  <a:pt x="14194548" y="4178011"/>
                  <a:pt x="13495400" y="5758927"/>
                </a:cubicBezTo>
                <a:cubicBezTo>
                  <a:pt x="13127428" y="6549385"/>
                  <a:pt x="12520272" y="7119250"/>
                  <a:pt x="11784328" y="7450139"/>
                </a:cubicBezTo>
                <a:cubicBezTo>
                  <a:pt x="11315164" y="7661540"/>
                  <a:pt x="10937992" y="8010813"/>
                  <a:pt x="10682708" y="8433615"/>
                </a:cubicBezTo>
                <a:lnTo>
                  <a:pt x="10647868" y="8496308"/>
                </a:lnTo>
                <a:lnTo>
                  <a:pt x="0" y="849630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27802637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cial_12">
    <p:bg>
      <p:bgPr>
        <a:solidFill>
          <a:schemeClr val="tx2"/>
        </a:solidFill>
        <a:effectLst/>
      </p:bgPr>
    </p:bg>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0" y="1839081"/>
            <a:ext cx="10679823" cy="11878507"/>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DD8289F-4557-6A44-8E0A-12B206A07D9F}"/>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C8CAD86-386C-BD48-B310-3A039BBE5BE1}"/>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8CD3E97A-46B0-D14A-A389-F51E8D25E00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271149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cial_13">
    <p:bg>
      <p:bgPr>
        <a:solidFill>
          <a:schemeClr val="tx2"/>
        </a:solidFill>
        <a:effectLst/>
      </p:bgPr>
    </p:bg>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0" y="2055105"/>
            <a:ext cx="10969451" cy="11662483"/>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3485E98-4BAB-4647-A273-4C1B087122AA}"/>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E1461D6-FAAB-9048-B3E2-1806D425001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036D552-B515-1E4D-9EBE-45666E519D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898000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ocial_14">
    <p:bg>
      <p:bgPr>
        <a:solidFill>
          <a:schemeClr val="tx2"/>
        </a:solidFill>
        <a:effectLst/>
      </p:bgPr>
    </p:bg>
    <p:spTree>
      <p:nvGrpSpPr>
        <p:cNvPr id="1" name=""/>
        <p:cNvGrpSpPr/>
        <p:nvPr/>
      </p:nvGrpSpPr>
      <p:grpSpPr>
        <a:xfrm>
          <a:off x="0" y="0"/>
          <a:ext cx="0" cy="0"/>
          <a:chOff x="0" y="0"/>
          <a:chExt cx="0" cy="0"/>
        </a:xfrm>
      </p:grpSpPr>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0" y="1695066"/>
            <a:ext cx="10537403" cy="12022522"/>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9EC4552A-4DCE-B044-A4B9-94FEE27D8E53}"/>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63160D3-8864-764A-AB04-8E8653E7DD3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D8E81E5-EF96-1F4F-86DD-E2D8AE7F0A4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894589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ocial_15">
    <p:bg>
      <p:bgPr>
        <a:solidFill>
          <a:schemeClr val="tx2"/>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20074" y="1767074"/>
            <a:ext cx="10465395" cy="11950514"/>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D1AB1BFF-EFAD-114F-9B33-CA99D1DB96C5}"/>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58288020-5DAE-CA46-9763-15463981997C}"/>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8F19FE2-374A-B54D-BEAD-0F20493E823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3611171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ocial_16">
    <p:bg>
      <p:bgPr>
        <a:solidFill>
          <a:schemeClr val="tx2"/>
        </a:solidFill>
        <a:effectLst/>
      </p:bgPr>
    </p:bg>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0" y="1760177"/>
            <a:ext cx="10513189" cy="11957411"/>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CE4C49EC-3C14-0046-B0AE-DD2CBADBAE04}"/>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FEA7CFC-443E-534E-B035-49AAA762284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A196FB3-9014-704C-ADAF-A5F9ACFE12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94226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Main_48">
    <p:spTree>
      <p:nvGrpSpPr>
        <p:cNvPr id="1" name=""/>
        <p:cNvGrpSpPr/>
        <p:nvPr/>
      </p:nvGrpSpPr>
      <p:grpSpPr>
        <a:xfrm>
          <a:off x="0" y="0"/>
          <a:ext cx="0" cy="0"/>
          <a:chOff x="0" y="0"/>
          <a:chExt cx="0" cy="0"/>
        </a:xfrm>
      </p:grpSpPr>
      <p:sp>
        <p:nvSpPr>
          <p:cNvPr id="106" name="Picture Placeholder 2">
            <a:extLst>
              <a:ext uri="{FF2B5EF4-FFF2-40B4-BE49-F238E27FC236}">
                <a16:creationId xmlns:a16="http://schemas.microsoft.com/office/drawing/2014/main" id="{27D9A197-D8E8-014B-83B8-18AF5E2C9DB7}"/>
              </a:ext>
            </a:extLst>
          </p:cNvPr>
          <p:cNvSpPr>
            <a:spLocks noGrp="1"/>
          </p:cNvSpPr>
          <p:nvPr>
            <p:ph type="pic" sz="quarter" idx="22"/>
          </p:nvPr>
        </p:nvSpPr>
        <p:spPr>
          <a:xfrm>
            <a:off x="1" y="1"/>
            <a:ext cx="24387174" cy="13717587"/>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a:p>
        </p:txBody>
      </p:sp>
      <p:grpSp>
        <p:nvGrpSpPr>
          <p:cNvPr id="9" name="Группа 8">
            <a:extLst>
              <a:ext uri="{FF2B5EF4-FFF2-40B4-BE49-F238E27FC236}">
                <a16:creationId xmlns:a16="http://schemas.microsoft.com/office/drawing/2014/main" id="{DD616751-8DAB-034B-9E37-CE8F2B324817}"/>
              </a:ext>
            </a:extLst>
          </p:cNvPr>
          <p:cNvGrpSpPr/>
          <p:nvPr userDrawn="1"/>
        </p:nvGrpSpPr>
        <p:grpSpPr>
          <a:xfrm>
            <a:off x="960340" y="665390"/>
            <a:ext cx="22218207" cy="12593300"/>
            <a:chOff x="480170" y="332656"/>
            <a:chExt cx="11109104" cy="6295921"/>
          </a:xfrm>
        </p:grpSpPr>
        <p:sp>
          <p:nvSpPr>
            <p:cNvPr id="10" name="Треугольник 9">
              <a:extLst>
                <a:ext uri="{FF2B5EF4-FFF2-40B4-BE49-F238E27FC236}">
                  <a16:creationId xmlns:a16="http://schemas.microsoft.com/office/drawing/2014/main" id="{ECFD81B6-ED34-E243-AB38-53D47CC66C9B}"/>
                </a:ext>
              </a:extLst>
            </p:cNvPr>
            <p:cNvSpPr/>
            <p:nvPr/>
          </p:nvSpPr>
          <p:spPr>
            <a:xfrm>
              <a:off x="3792721" y="1124743"/>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1" name="Треугольник 10">
              <a:extLst>
                <a:ext uri="{FF2B5EF4-FFF2-40B4-BE49-F238E27FC236}">
                  <a16:creationId xmlns:a16="http://schemas.microsoft.com/office/drawing/2014/main" id="{E573FBCD-82A3-2148-A980-D75B3A768A5A}"/>
                </a:ext>
              </a:extLst>
            </p:cNvPr>
            <p:cNvSpPr/>
            <p:nvPr/>
          </p:nvSpPr>
          <p:spPr>
            <a:xfrm>
              <a:off x="6397520" y="908719"/>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2" name="Треугольник 11">
              <a:extLst>
                <a:ext uri="{FF2B5EF4-FFF2-40B4-BE49-F238E27FC236}">
                  <a16:creationId xmlns:a16="http://schemas.microsoft.com/office/drawing/2014/main" id="{886769AC-D078-0A47-A6E2-49BC6F7D40D2}"/>
                </a:ext>
              </a:extLst>
            </p:cNvPr>
            <p:cNvSpPr/>
            <p:nvPr/>
          </p:nvSpPr>
          <p:spPr>
            <a:xfrm>
              <a:off x="2856434" y="2085999"/>
              <a:ext cx="91880" cy="45719"/>
            </a:xfrm>
            <a:prstGeom prst="triangl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4" name="Треугольник 13">
              <a:extLst>
                <a:ext uri="{FF2B5EF4-FFF2-40B4-BE49-F238E27FC236}">
                  <a16:creationId xmlns:a16="http://schemas.microsoft.com/office/drawing/2014/main" id="{A1B94C5C-2F65-FA44-A764-D725336F5BEE}"/>
                </a:ext>
              </a:extLst>
            </p:cNvPr>
            <p:cNvSpPr/>
            <p:nvPr/>
          </p:nvSpPr>
          <p:spPr>
            <a:xfrm>
              <a:off x="11242075" y="4797151"/>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5" name="Треугольник 14">
              <a:extLst>
                <a:ext uri="{FF2B5EF4-FFF2-40B4-BE49-F238E27FC236}">
                  <a16:creationId xmlns:a16="http://schemas.microsoft.com/office/drawing/2014/main" id="{A8803783-54AC-FE41-AF27-1A58E303D7DB}"/>
                </a:ext>
              </a:extLst>
            </p:cNvPr>
            <p:cNvSpPr/>
            <p:nvPr/>
          </p:nvSpPr>
          <p:spPr>
            <a:xfrm>
              <a:off x="480170" y="472514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6" name="Треугольник 15">
              <a:extLst>
                <a:ext uri="{FF2B5EF4-FFF2-40B4-BE49-F238E27FC236}">
                  <a16:creationId xmlns:a16="http://schemas.microsoft.com/office/drawing/2014/main" id="{3FAD7213-DFAF-B743-87A8-C0DAAE53B85E}"/>
                </a:ext>
              </a:extLst>
            </p:cNvPr>
            <p:cNvSpPr/>
            <p:nvPr/>
          </p:nvSpPr>
          <p:spPr>
            <a:xfrm>
              <a:off x="990838" y="5877271"/>
              <a:ext cx="91880" cy="45719"/>
            </a:xfrm>
            <a:prstGeom prst="triangle">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7" name="Треугольник 16">
              <a:extLst>
                <a:ext uri="{FF2B5EF4-FFF2-40B4-BE49-F238E27FC236}">
                  <a16:creationId xmlns:a16="http://schemas.microsoft.com/office/drawing/2014/main" id="{6625E069-7B2B-B146-9271-20D92F097C7A}"/>
                </a:ext>
              </a:extLst>
            </p:cNvPr>
            <p:cNvSpPr/>
            <p:nvPr/>
          </p:nvSpPr>
          <p:spPr>
            <a:xfrm rot="10800000">
              <a:off x="7813024" y="4725143"/>
              <a:ext cx="91880" cy="45719"/>
            </a:xfrm>
            <a:prstGeom prst="triangle">
              <a:avLst/>
            </a:prstGeom>
            <a:solidFill>
              <a:schemeClr val="accent3">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8" name="Треугольник 17">
              <a:extLst>
                <a:ext uri="{FF2B5EF4-FFF2-40B4-BE49-F238E27FC236}">
                  <a16:creationId xmlns:a16="http://schemas.microsoft.com/office/drawing/2014/main" id="{730DEED6-8A66-5140-84CB-E0A2C14E7FD4}"/>
                </a:ext>
              </a:extLst>
            </p:cNvPr>
            <p:cNvSpPr/>
            <p:nvPr/>
          </p:nvSpPr>
          <p:spPr>
            <a:xfrm rot="10800000">
              <a:off x="8068358" y="1340767"/>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9" name="Треугольник 18">
              <a:extLst>
                <a:ext uri="{FF2B5EF4-FFF2-40B4-BE49-F238E27FC236}">
                  <a16:creationId xmlns:a16="http://schemas.microsoft.com/office/drawing/2014/main" id="{CD4FF605-4D16-4B4A-8086-0F826EB43FEB}"/>
                </a:ext>
              </a:extLst>
            </p:cNvPr>
            <p:cNvSpPr/>
            <p:nvPr/>
          </p:nvSpPr>
          <p:spPr>
            <a:xfrm rot="10800000">
              <a:off x="1246172" y="285293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0" name="Треугольник 19">
              <a:extLst>
                <a:ext uri="{FF2B5EF4-FFF2-40B4-BE49-F238E27FC236}">
                  <a16:creationId xmlns:a16="http://schemas.microsoft.com/office/drawing/2014/main" id="{DDA0C5CF-0DF0-BB45-91BA-6624745A869D}"/>
                </a:ext>
              </a:extLst>
            </p:cNvPr>
            <p:cNvSpPr/>
            <p:nvPr/>
          </p:nvSpPr>
          <p:spPr>
            <a:xfrm rot="10800000">
              <a:off x="10986741" y="6047575"/>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1" name="Треугольник 20">
              <a:extLst>
                <a:ext uri="{FF2B5EF4-FFF2-40B4-BE49-F238E27FC236}">
                  <a16:creationId xmlns:a16="http://schemas.microsoft.com/office/drawing/2014/main" id="{2D1D1E78-4C68-C049-B35B-DF7EC8C55A0E}"/>
                </a:ext>
              </a:extLst>
            </p:cNvPr>
            <p:cNvSpPr/>
            <p:nvPr/>
          </p:nvSpPr>
          <p:spPr>
            <a:xfrm rot="10800000">
              <a:off x="8323692" y="332656"/>
              <a:ext cx="91880" cy="45719"/>
            </a:xfrm>
            <a:prstGeom prst="triangle">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2" name="Треугольник 21">
              <a:extLst>
                <a:ext uri="{FF2B5EF4-FFF2-40B4-BE49-F238E27FC236}">
                  <a16:creationId xmlns:a16="http://schemas.microsoft.com/office/drawing/2014/main" id="{9366D4D7-C730-E247-8463-341AA38334C5}"/>
                </a:ext>
              </a:extLst>
            </p:cNvPr>
            <p:cNvSpPr/>
            <p:nvPr/>
          </p:nvSpPr>
          <p:spPr>
            <a:xfrm rot="10800000">
              <a:off x="7105272" y="5733255"/>
              <a:ext cx="91880" cy="45719"/>
            </a:xfrm>
            <a:prstGeom prst="triangle">
              <a:avLst/>
            </a:prstGeom>
            <a:solidFill>
              <a:schemeClr val="accent3">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3" name="Треугольник 22">
              <a:extLst>
                <a:ext uri="{FF2B5EF4-FFF2-40B4-BE49-F238E27FC236}">
                  <a16:creationId xmlns:a16="http://schemas.microsoft.com/office/drawing/2014/main" id="{27D05058-59AB-A34F-A7DC-9E52E7EAB6B6}"/>
                </a:ext>
              </a:extLst>
            </p:cNvPr>
            <p:cNvSpPr/>
            <p:nvPr/>
          </p:nvSpPr>
          <p:spPr>
            <a:xfrm rot="10800000">
              <a:off x="10220739" y="5877271"/>
              <a:ext cx="91880" cy="457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4" name="Треугольник 23">
              <a:extLst>
                <a:ext uri="{FF2B5EF4-FFF2-40B4-BE49-F238E27FC236}">
                  <a16:creationId xmlns:a16="http://schemas.microsoft.com/office/drawing/2014/main" id="{E6CC6BA6-CDEA-DD4C-ADC1-3F2EBB470AEB}"/>
                </a:ext>
              </a:extLst>
            </p:cNvPr>
            <p:cNvSpPr/>
            <p:nvPr/>
          </p:nvSpPr>
          <p:spPr>
            <a:xfrm rot="10800000">
              <a:off x="10476073" y="501317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5" name="Треугольник 24">
              <a:extLst>
                <a:ext uri="{FF2B5EF4-FFF2-40B4-BE49-F238E27FC236}">
                  <a16:creationId xmlns:a16="http://schemas.microsoft.com/office/drawing/2014/main" id="{ACA90EE4-4B56-6742-A2D7-D63A4E0CFED7}"/>
                </a:ext>
              </a:extLst>
            </p:cNvPr>
            <p:cNvSpPr/>
            <p:nvPr/>
          </p:nvSpPr>
          <p:spPr>
            <a:xfrm rot="10800000">
              <a:off x="2858760" y="3861047"/>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6" name="Треугольник 25">
              <a:extLst>
                <a:ext uri="{FF2B5EF4-FFF2-40B4-BE49-F238E27FC236}">
                  <a16:creationId xmlns:a16="http://schemas.microsoft.com/office/drawing/2014/main" id="{C790AE41-92D1-BE49-ABAD-F3B635F26DAC}"/>
                </a:ext>
              </a:extLst>
            </p:cNvPr>
            <p:cNvSpPr/>
            <p:nvPr/>
          </p:nvSpPr>
          <p:spPr>
            <a:xfrm rot="10800000">
              <a:off x="11497394" y="256490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7" name="Треугольник 26">
              <a:extLst>
                <a:ext uri="{FF2B5EF4-FFF2-40B4-BE49-F238E27FC236}">
                  <a16:creationId xmlns:a16="http://schemas.microsoft.com/office/drawing/2014/main" id="{43A4CA3A-DD29-944B-94D4-0D8434501DB7}"/>
                </a:ext>
              </a:extLst>
            </p:cNvPr>
            <p:cNvSpPr/>
            <p:nvPr/>
          </p:nvSpPr>
          <p:spPr>
            <a:xfrm rot="10800000">
              <a:off x="9739196" y="548679"/>
              <a:ext cx="91880" cy="45719"/>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8" name="Треугольник 27">
              <a:extLst>
                <a:ext uri="{FF2B5EF4-FFF2-40B4-BE49-F238E27FC236}">
                  <a16:creationId xmlns:a16="http://schemas.microsoft.com/office/drawing/2014/main" id="{EB26CD4C-42F1-364D-91CD-EFBDBD865143}"/>
                </a:ext>
              </a:extLst>
            </p:cNvPr>
            <p:cNvSpPr/>
            <p:nvPr/>
          </p:nvSpPr>
          <p:spPr>
            <a:xfrm>
              <a:off x="5689768" y="1916831"/>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9" name="Треугольник 28">
              <a:extLst>
                <a:ext uri="{FF2B5EF4-FFF2-40B4-BE49-F238E27FC236}">
                  <a16:creationId xmlns:a16="http://schemas.microsoft.com/office/drawing/2014/main" id="{BC7C07A2-1586-0341-A280-793323C21326}"/>
                </a:ext>
              </a:extLst>
            </p:cNvPr>
            <p:cNvSpPr/>
            <p:nvPr/>
          </p:nvSpPr>
          <p:spPr>
            <a:xfrm>
              <a:off x="4048055" y="321297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0" name="Треугольник 29">
              <a:extLst>
                <a:ext uri="{FF2B5EF4-FFF2-40B4-BE49-F238E27FC236}">
                  <a16:creationId xmlns:a16="http://schemas.microsoft.com/office/drawing/2014/main" id="{13145217-0CD1-A74F-84AD-D6447D4D8AA7}"/>
                </a:ext>
              </a:extLst>
            </p:cNvPr>
            <p:cNvSpPr/>
            <p:nvPr/>
          </p:nvSpPr>
          <p:spPr>
            <a:xfrm>
              <a:off x="10731407" y="393305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1" name="Треугольник 30">
              <a:extLst>
                <a:ext uri="{FF2B5EF4-FFF2-40B4-BE49-F238E27FC236}">
                  <a16:creationId xmlns:a16="http://schemas.microsoft.com/office/drawing/2014/main" id="{F120FC97-62E0-264C-B03E-6845536C4CB1}"/>
                </a:ext>
              </a:extLst>
            </p:cNvPr>
            <p:cNvSpPr/>
            <p:nvPr/>
          </p:nvSpPr>
          <p:spPr>
            <a:xfrm>
              <a:off x="735504" y="738415"/>
              <a:ext cx="91880" cy="45719"/>
            </a:xfrm>
            <a:prstGeom prst="triangl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2" name="Треугольник 31">
              <a:extLst>
                <a:ext uri="{FF2B5EF4-FFF2-40B4-BE49-F238E27FC236}">
                  <a16:creationId xmlns:a16="http://schemas.microsoft.com/office/drawing/2014/main" id="{A808AFFD-041A-244D-958E-6403FE2BC6A4}"/>
                </a:ext>
              </a:extLst>
            </p:cNvPr>
            <p:cNvSpPr/>
            <p:nvPr/>
          </p:nvSpPr>
          <p:spPr>
            <a:xfrm>
              <a:off x="8579026" y="6453334"/>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3" name="Треугольник 32">
              <a:extLst>
                <a:ext uri="{FF2B5EF4-FFF2-40B4-BE49-F238E27FC236}">
                  <a16:creationId xmlns:a16="http://schemas.microsoft.com/office/drawing/2014/main" id="{B1207782-6ECA-E448-AE4B-FF4708C9A250}"/>
                </a:ext>
              </a:extLst>
            </p:cNvPr>
            <p:cNvSpPr/>
            <p:nvPr/>
          </p:nvSpPr>
          <p:spPr>
            <a:xfrm>
              <a:off x="4303389" y="1284389"/>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4" name="Треугольник 33">
              <a:extLst>
                <a:ext uri="{FF2B5EF4-FFF2-40B4-BE49-F238E27FC236}">
                  <a16:creationId xmlns:a16="http://schemas.microsoft.com/office/drawing/2014/main" id="{D41B288E-2375-954B-A73E-868919EE499A}"/>
                </a:ext>
              </a:extLst>
            </p:cNvPr>
            <p:cNvSpPr/>
            <p:nvPr/>
          </p:nvSpPr>
          <p:spPr>
            <a:xfrm>
              <a:off x="6652854" y="1068365"/>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5" name="Треугольник 34">
              <a:extLst>
                <a:ext uri="{FF2B5EF4-FFF2-40B4-BE49-F238E27FC236}">
                  <a16:creationId xmlns:a16="http://schemas.microsoft.com/office/drawing/2014/main" id="{537F7E97-2E0E-254F-A3B6-0785475D1878}"/>
                </a:ext>
              </a:extLst>
            </p:cNvPr>
            <p:cNvSpPr/>
            <p:nvPr/>
          </p:nvSpPr>
          <p:spPr>
            <a:xfrm>
              <a:off x="3111768" y="2245645"/>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6" name="Треугольник 35">
              <a:extLst>
                <a:ext uri="{FF2B5EF4-FFF2-40B4-BE49-F238E27FC236}">
                  <a16:creationId xmlns:a16="http://schemas.microsoft.com/office/drawing/2014/main" id="{DE239722-2A83-044C-9C3A-0A7AD172DD3C}"/>
                </a:ext>
              </a:extLst>
            </p:cNvPr>
            <p:cNvSpPr/>
            <p:nvPr/>
          </p:nvSpPr>
          <p:spPr>
            <a:xfrm rot="10800000">
              <a:off x="8834360" y="1500413"/>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7" name="Треугольник 36">
              <a:extLst>
                <a:ext uri="{FF2B5EF4-FFF2-40B4-BE49-F238E27FC236}">
                  <a16:creationId xmlns:a16="http://schemas.microsoft.com/office/drawing/2014/main" id="{4818ADB1-67C0-2847-8494-4E19C9F1FE85}"/>
                </a:ext>
              </a:extLst>
            </p:cNvPr>
            <p:cNvSpPr/>
            <p:nvPr/>
          </p:nvSpPr>
          <p:spPr>
            <a:xfrm rot="10800000">
              <a:off x="9060569" y="49230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8" name="Треугольник 37">
              <a:extLst>
                <a:ext uri="{FF2B5EF4-FFF2-40B4-BE49-F238E27FC236}">
                  <a16:creationId xmlns:a16="http://schemas.microsoft.com/office/drawing/2014/main" id="{2F5EB4AE-A967-F84F-B70B-260CB6C8F3CA}"/>
                </a:ext>
              </a:extLst>
            </p:cNvPr>
            <p:cNvSpPr/>
            <p:nvPr/>
          </p:nvSpPr>
          <p:spPr>
            <a:xfrm rot="10800000">
              <a:off x="9994530" y="70832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9" name="Треугольник 38">
              <a:extLst>
                <a:ext uri="{FF2B5EF4-FFF2-40B4-BE49-F238E27FC236}">
                  <a16:creationId xmlns:a16="http://schemas.microsoft.com/office/drawing/2014/main" id="{EEF9FFD5-1B5E-DC4A-836E-1CD24AB88ECF}"/>
                </a:ext>
              </a:extLst>
            </p:cNvPr>
            <p:cNvSpPr/>
            <p:nvPr/>
          </p:nvSpPr>
          <p:spPr>
            <a:xfrm>
              <a:off x="5945102" y="207647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0" name="Треугольник 39">
              <a:extLst>
                <a:ext uri="{FF2B5EF4-FFF2-40B4-BE49-F238E27FC236}">
                  <a16:creationId xmlns:a16="http://schemas.microsoft.com/office/drawing/2014/main" id="{7A948CD4-2D31-F84B-AAD9-40905A67526A}"/>
                </a:ext>
              </a:extLst>
            </p:cNvPr>
            <p:cNvSpPr/>
            <p:nvPr/>
          </p:nvSpPr>
          <p:spPr>
            <a:xfrm>
              <a:off x="4529598" y="4633981"/>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1" name="Треугольник 40">
              <a:extLst>
                <a:ext uri="{FF2B5EF4-FFF2-40B4-BE49-F238E27FC236}">
                  <a16:creationId xmlns:a16="http://schemas.microsoft.com/office/drawing/2014/main" id="{B43D18F2-629C-BC49-9825-B47B23503FC2}"/>
                </a:ext>
              </a:extLst>
            </p:cNvPr>
            <p:cNvSpPr/>
            <p:nvPr/>
          </p:nvSpPr>
          <p:spPr>
            <a:xfrm>
              <a:off x="6879063" y="441795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2" name="Треугольник 41">
              <a:extLst>
                <a:ext uri="{FF2B5EF4-FFF2-40B4-BE49-F238E27FC236}">
                  <a16:creationId xmlns:a16="http://schemas.microsoft.com/office/drawing/2014/main" id="{88453AA0-02CA-174E-8B93-AF1B7282EA96}"/>
                </a:ext>
              </a:extLst>
            </p:cNvPr>
            <p:cNvSpPr/>
            <p:nvPr/>
          </p:nvSpPr>
          <p:spPr>
            <a:xfrm>
              <a:off x="5237350" y="5714101"/>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3" name="Треугольник 42">
              <a:extLst>
                <a:ext uri="{FF2B5EF4-FFF2-40B4-BE49-F238E27FC236}">
                  <a16:creationId xmlns:a16="http://schemas.microsoft.com/office/drawing/2014/main" id="{80D24C53-E4DC-2A40-91F6-408B9BFF968A}"/>
                </a:ext>
              </a:extLst>
            </p:cNvPr>
            <p:cNvSpPr/>
            <p:nvPr/>
          </p:nvSpPr>
          <p:spPr>
            <a:xfrm rot="10800000">
              <a:off x="1501506" y="3789038"/>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4" name="Треугольник 43">
              <a:extLst>
                <a:ext uri="{FF2B5EF4-FFF2-40B4-BE49-F238E27FC236}">
                  <a16:creationId xmlns:a16="http://schemas.microsoft.com/office/drawing/2014/main" id="{81AC055C-F9F8-A641-8FC9-D1BF37559E57}"/>
                </a:ext>
              </a:extLst>
            </p:cNvPr>
            <p:cNvSpPr/>
            <p:nvPr/>
          </p:nvSpPr>
          <p:spPr>
            <a:xfrm rot="10800000">
              <a:off x="1727715" y="2780927"/>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5" name="Треугольник 44">
              <a:extLst>
                <a:ext uri="{FF2B5EF4-FFF2-40B4-BE49-F238E27FC236}">
                  <a16:creationId xmlns:a16="http://schemas.microsoft.com/office/drawing/2014/main" id="{82497BE7-1E65-2F49-A660-BCE500964BE5}"/>
                </a:ext>
              </a:extLst>
            </p:cNvPr>
            <p:cNvSpPr/>
            <p:nvPr/>
          </p:nvSpPr>
          <p:spPr>
            <a:xfrm rot="10800000">
              <a:off x="3114094" y="2996950"/>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6" name="Треугольник 45">
              <a:extLst>
                <a:ext uri="{FF2B5EF4-FFF2-40B4-BE49-F238E27FC236}">
                  <a16:creationId xmlns:a16="http://schemas.microsoft.com/office/drawing/2014/main" id="{22E92FB7-510E-C64B-B353-05D253A7D9B4}"/>
                </a:ext>
              </a:extLst>
            </p:cNvPr>
            <p:cNvSpPr/>
            <p:nvPr/>
          </p:nvSpPr>
          <p:spPr>
            <a:xfrm>
              <a:off x="6171311" y="5426069"/>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7" name="Треугольник 46">
              <a:extLst>
                <a:ext uri="{FF2B5EF4-FFF2-40B4-BE49-F238E27FC236}">
                  <a16:creationId xmlns:a16="http://schemas.microsoft.com/office/drawing/2014/main" id="{00875782-8825-5341-81F9-B18AEE78DC51}"/>
                </a:ext>
              </a:extLst>
            </p:cNvPr>
            <p:cNvSpPr/>
            <p:nvPr/>
          </p:nvSpPr>
          <p:spPr>
            <a:xfrm rot="10800000">
              <a:off x="7360606" y="3861046"/>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8" name="Треугольник 47">
              <a:extLst>
                <a:ext uri="{FF2B5EF4-FFF2-40B4-BE49-F238E27FC236}">
                  <a16:creationId xmlns:a16="http://schemas.microsoft.com/office/drawing/2014/main" id="{CFF29D44-AC0F-CA49-968A-A568381D33C9}"/>
                </a:ext>
              </a:extLst>
            </p:cNvPr>
            <p:cNvSpPr/>
            <p:nvPr/>
          </p:nvSpPr>
          <p:spPr>
            <a:xfrm rot="10800000">
              <a:off x="7586815" y="285293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9" name="Треугольник 48">
              <a:extLst>
                <a:ext uri="{FF2B5EF4-FFF2-40B4-BE49-F238E27FC236}">
                  <a16:creationId xmlns:a16="http://schemas.microsoft.com/office/drawing/2014/main" id="{C1D5AE7D-0063-7A49-A630-3671FECED6CB}"/>
                </a:ext>
              </a:extLst>
            </p:cNvPr>
            <p:cNvSpPr/>
            <p:nvPr/>
          </p:nvSpPr>
          <p:spPr>
            <a:xfrm rot="10800000">
              <a:off x="9286778" y="3068958"/>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0" name="Треугольник 49">
              <a:extLst>
                <a:ext uri="{FF2B5EF4-FFF2-40B4-BE49-F238E27FC236}">
                  <a16:creationId xmlns:a16="http://schemas.microsoft.com/office/drawing/2014/main" id="{0EC9CA04-634D-6E41-AC01-E142BFE96C61}"/>
                </a:ext>
              </a:extLst>
            </p:cNvPr>
            <p:cNvSpPr/>
            <p:nvPr/>
          </p:nvSpPr>
          <p:spPr>
            <a:xfrm rot="10800000">
              <a:off x="2406342" y="6597350"/>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1" name="Треугольник 50">
              <a:extLst>
                <a:ext uri="{FF2B5EF4-FFF2-40B4-BE49-F238E27FC236}">
                  <a16:creationId xmlns:a16="http://schemas.microsoft.com/office/drawing/2014/main" id="{DF8FD85B-0018-BA4B-810F-4C488592C83D}"/>
                </a:ext>
              </a:extLst>
            </p:cNvPr>
            <p:cNvSpPr/>
            <p:nvPr/>
          </p:nvSpPr>
          <p:spPr>
            <a:xfrm rot="10800000">
              <a:off x="2632551" y="558923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2" name="Треугольник 51">
              <a:extLst>
                <a:ext uri="{FF2B5EF4-FFF2-40B4-BE49-F238E27FC236}">
                  <a16:creationId xmlns:a16="http://schemas.microsoft.com/office/drawing/2014/main" id="{36126E66-2D03-C540-B1C4-63FB91C6F2F1}"/>
                </a:ext>
              </a:extLst>
            </p:cNvPr>
            <p:cNvSpPr/>
            <p:nvPr/>
          </p:nvSpPr>
          <p:spPr>
            <a:xfrm rot="10800000">
              <a:off x="3566512" y="580526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3" name="Треугольник 52">
              <a:extLst>
                <a:ext uri="{FF2B5EF4-FFF2-40B4-BE49-F238E27FC236}">
                  <a16:creationId xmlns:a16="http://schemas.microsoft.com/office/drawing/2014/main" id="{BEDB74FB-047D-9F49-8DDF-518CDD08A7EC}"/>
                </a:ext>
              </a:extLst>
            </p:cNvPr>
            <p:cNvSpPr/>
            <p:nvPr/>
          </p:nvSpPr>
          <p:spPr>
            <a:xfrm rot="10800000">
              <a:off x="1953924" y="1412774"/>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4" name="Треугольник 53">
              <a:extLst>
                <a:ext uri="{FF2B5EF4-FFF2-40B4-BE49-F238E27FC236}">
                  <a16:creationId xmlns:a16="http://schemas.microsoft.com/office/drawing/2014/main" id="{996BFBF4-5375-864A-90A0-5493FA4462EA}"/>
                </a:ext>
              </a:extLst>
            </p:cNvPr>
            <p:cNvSpPr/>
            <p:nvPr/>
          </p:nvSpPr>
          <p:spPr>
            <a:xfrm rot="10800000">
              <a:off x="2180133" y="404663"/>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5" name="Треугольник 54">
              <a:extLst>
                <a:ext uri="{FF2B5EF4-FFF2-40B4-BE49-F238E27FC236}">
                  <a16:creationId xmlns:a16="http://schemas.microsoft.com/office/drawing/2014/main" id="{40E56D65-A499-7444-BFA4-BB65A8AC8056}"/>
                </a:ext>
              </a:extLst>
            </p:cNvPr>
            <p:cNvSpPr/>
            <p:nvPr/>
          </p:nvSpPr>
          <p:spPr>
            <a:xfrm rot="10800000">
              <a:off x="3340303" y="620686"/>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6" name="Треугольник 55">
              <a:extLst>
                <a:ext uri="{FF2B5EF4-FFF2-40B4-BE49-F238E27FC236}">
                  <a16:creationId xmlns:a16="http://schemas.microsoft.com/office/drawing/2014/main" id="{DB4EDD40-1731-D242-8C12-8D34ED77FAF2}"/>
                </a:ext>
              </a:extLst>
            </p:cNvPr>
            <p:cNvSpPr/>
            <p:nvPr/>
          </p:nvSpPr>
          <p:spPr>
            <a:xfrm rot="10800000">
              <a:off x="5463559" y="560449"/>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7" name="Треугольник 56">
              <a:extLst>
                <a:ext uri="{FF2B5EF4-FFF2-40B4-BE49-F238E27FC236}">
                  <a16:creationId xmlns:a16="http://schemas.microsoft.com/office/drawing/2014/main" id="{5208250F-C762-6D43-8A90-3EAD9CB111FC}"/>
                </a:ext>
              </a:extLst>
            </p:cNvPr>
            <p:cNvSpPr/>
            <p:nvPr/>
          </p:nvSpPr>
          <p:spPr>
            <a:xfrm rot="10800000">
              <a:off x="9512987" y="270891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grpSp>
      <p:sp>
        <p:nvSpPr>
          <p:cNvPr id="108" name="Текст 3">
            <a:extLst>
              <a:ext uri="{FF2B5EF4-FFF2-40B4-BE49-F238E27FC236}">
                <a16:creationId xmlns:a16="http://schemas.microsoft.com/office/drawing/2014/main" id="{EB0B5FC6-3DD6-4449-8737-25EC60A7290E}"/>
              </a:ext>
            </a:extLst>
          </p:cNvPr>
          <p:cNvSpPr>
            <a:spLocks noGrp="1"/>
          </p:cNvSpPr>
          <p:nvPr userDrawn="1">
            <p:ph type="body" sz="quarter" idx="21" hasCustomPrompt="1"/>
          </p:nvPr>
        </p:nvSpPr>
        <p:spPr>
          <a:xfrm>
            <a:off x="2688532" y="3834108"/>
            <a:ext cx="20450271" cy="5904656"/>
          </a:xfrm>
          <a:prstGeom prst="rect">
            <a:avLst/>
          </a:prstGeom>
        </p:spPr>
        <p:txBody>
          <a:bodyPr/>
          <a:lstStyle>
            <a:lvl1pPr marL="0" indent="0" algn="l">
              <a:lnSpc>
                <a:spcPct val="85000"/>
              </a:lnSpc>
              <a:spcBef>
                <a:spcPts val="0"/>
              </a:spcBef>
              <a:buNone/>
              <a:defRPr lang="en-US" sz="12000" b="1" i="0" kern="1200" spc="0" baseline="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atin typeface="Century Gothic" panose="020B0502020202020204" pitchFamily="34" charset="0"/>
                <a:ea typeface="Tahoma" charset="0"/>
                <a:cs typeface="Tahoma" charset="0"/>
              </a:defRPr>
            </a:lvl1pPr>
          </a:lstStyle>
          <a:p>
            <a:pPr>
              <a:lnSpc>
                <a:spcPct val="85000"/>
              </a:lnSpc>
            </a:pPr>
            <a:r>
              <a:rPr lang="ru-RU" sz="1200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rPr>
              <a:t>Пример слайда</a:t>
            </a:r>
          </a:p>
        </p:txBody>
      </p:sp>
      <p:sp>
        <p:nvSpPr>
          <p:cNvPr id="109" name="Полилиния 108">
            <a:extLst>
              <a:ext uri="{FF2B5EF4-FFF2-40B4-BE49-F238E27FC236}">
                <a16:creationId xmlns:a16="http://schemas.microsoft.com/office/drawing/2014/main" id="{727E9D97-001A-0440-B0C5-1AB1C45CD91F}"/>
              </a:ext>
            </a:extLst>
          </p:cNvPr>
          <p:cNvSpPr/>
          <p:nvPr userDrawn="1"/>
        </p:nvSpPr>
        <p:spPr>
          <a:xfrm rot="8203638">
            <a:off x="8069626" y="-1260443"/>
            <a:ext cx="11183015" cy="6472046"/>
          </a:xfrm>
          <a:custGeom>
            <a:avLst/>
            <a:gdLst>
              <a:gd name="connsiteX0" fmla="*/ 8312727 w 8312727"/>
              <a:gd name="connsiteY0" fmla="*/ 0 h 5652655"/>
              <a:gd name="connsiteX1" fmla="*/ 83127 w 8312727"/>
              <a:gd name="connsiteY1" fmla="*/ 5652655 h 5652655"/>
              <a:gd name="connsiteX2" fmla="*/ 0 w 8312727"/>
              <a:gd name="connsiteY2" fmla="*/ 0 h 5652655"/>
              <a:gd name="connsiteX0" fmla="*/ 8193646 w 8193646"/>
              <a:gd name="connsiteY0" fmla="*/ 2409978 h 5652655"/>
              <a:gd name="connsiteX1" fmla="*/ 83127 w 8193646"/>
              <a:gd name="connsiteY1" fmla="*/ 5652655 h 5652655"/>
              <a:gd name="connsiteX2" fmla="*/ 0 w 8193646"/>
              <a:gd name="connsiteY2" fmla="*/ 0 h 5652655"/>
              <a:gd name="connsiteX0" fmla="*/ 7802382 w 7802382"/>
              <a:gd name="connsiteY0" fmla="*/ 1868201 h 5652655"/>
              <a:gd name="connsiteX1" fmla="*/ 83127 w 7802382"/>
              <a:gd name="connsiteY1" fmla="*/ 5652655 h 5652655"/>
              <a:gd name="connsiteX2" fmla="*/ 0 w 7802382"/>
              <a:gd name="connsiteY2" fmla="*/ 0 h 5652655"/>
              <a:gd name="connsiteX0" fmla="*/ 4740317 w 4740317"/>
              <a:gd name="connsiteY0" fmla="*/ 0 h 5708699"/>
              <a:gd name="connsiteX1" fmla="*/ 83127 w 4740317"/>
              <a:gd name="connsiteY1" fmla="*/ 5708699 h 5708699"/>
              <a:gd name="connsiteX2" fmla="*/ 0 w 4740317"/>
              <a:gd name="connsiteY2" fmla="*/ 56044 h 5708699"/>
              <a:gd name="connsiteX0" fmla="*/ 5114569 w 5114569"/>
              <a:gd name="connsiteY0" fmla="*/ 0 h 5708699"/>
              <a:gd name="connsiteX1" fmla="*/ 457379 w 5114569"/>
              <a:gd name="connsiteY1" fmla="*/ 5708699 h 5708699"/>
              <a:gd name="connsiteX2" fmla="*/ 0 w 5114569"/>
              <a:gd name="connsiteY2" fmla="*/ 2036336 h 5708699"/>
              <a:gd name="connsiteX0" fmla="*/ 5233649 w 5233649"/>
              <a:gd name="connsiteY0" fmla="*/ 0 h 5708699"/>
              <a:gd name="connsiteX1" fmla="*/ 576459 w 5233649"/>
              <a:gd name="connsiteY1" fmla="*/ 5708699 h 5708699"/>
              <a:gd name="connsiteX2" fmla="*/ 0 w 5233649"/>
              <a:gd name="connsiteY2" fmla="*/ 1214329 h 5708699"/>
              <a:gd name="connsiteX0" fmla="*/ 6340601 w 6340601"/>
              <a:gd name="connsiteY0" fmla="*/ 0 h 5708699"/>
              <a:gd name="connsiteX1" fmla="*/ 1683411 w 6340601"/>
              <a:gd name="connsiteY1" fmla="*/ 5708699 h 5708699"/>
              <a:gd name="connsiteX2" fmla="*/ 0 w 6340601"/>
              <a:gd name="connsiteY2" fmla="*/ 3774148 h 5708699"/>
              <a:gd name="connsiteX0" fmla="*/ 7545130 w 7545130"/>
              <a:gd name="connsiteY0" fmla="*/ 0 h 5708699"/>
              <a:gd name="connsiteX1" fmla="*/ 2887940 w 7545130"/>
              <a:gd name="connsiteY1" fmla="*/ 5708699 h 5708699"/>
              <a:gd name="connsiteX2" fmla="*/ 0 w 7545130"/>
              <a:gd name="connsiteY2" fmla="*/ 2040516 h 5708699"/>
              <a:gd name="connsiteX0" fmla="*/ 7433938 w 7433938"/>
              <a:gd name="connsiteY0" fmla="*/ 0 h 5708699"/>
              <a:gd name="connsiteX1" fmla="*/ 2776748 w 7433938"/>
              <a:gd name="connsiteY1" fmla="*/ 5708699 h 5708699"/>
              <a:gd name="connsiteX2" fmla="*/ 0 w 7433938"/>
              <a:gd name="connsiteY2" fmla="*/ 2153983 h 5708699"/>
            </a:gdLst>
            <a:ahLst/>
            <a:cxnLst>
              <a:cxn ang="0">
                <a:pos x="connsiteX0" y="connsiteY0"/>
              </a:cxn>
              <a:cxn ang="0">
                <a:pos x="connsiteX1" y="connsiteY1"/>
              </a:cxn>
              <a:cxn ang="0">
                <a:pos x="connsiteX2" y="connsiteY2"/>
              </a:cxn>
            </a:cxnLst>
            <a:rect l="l" t="t" r="r" b="b"/>
            <a:pathLst>
              <a:path w="7433938" h="5708699">
                <a:moveTo>
                  <a:pt x="7433938" y="0"/>
                </a:moveTo>
                <a:lnTo>
                  <a:pt x="2776748" y="5708699"/>
                </a:lnTo>
                <a:lnTo>
                  <a:pt x="0" y="2153983"/>
                </a:lnTo>
              </a:path>
            </a:pathLst>
          </a:custGeom>
          <a:gradFill>
            <a:gsLst>
              <a:gs pos="99000">
                <a:schemeClr val="accent2">
                  <a:alpha val="66000"/>
                </a:schemeClr>
              </a:gs>
              <a:gs pos="0">
                <a:schemeClr val="accent2"/>
              </a:gs>
            </a:gsLst>
            <a:lin ang="18600000" scaled="0"/>
          </a:gra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ru-RU" sz="9600"/>
          </a:p>
        </p:txBody>
      </p:sp>
    </p:spTree>
    <p:extLst>
      <p:ext uri="{BB962C8B-B14F-4D97-AF65-F5344CB8AC3E}">
        <p14:creationId xmlns:p14="http://schemas.microsoft.com/office/powerpoint/2010/main" val="3465334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Main_2" userDrawn="1">
  <p:cSld name="6_Main_2">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714677" y="702000"/>
            <a:ext cx="22927961" cy="1224136"/>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dk2"/>
              </a:buClr>
              <a:buSzPts val="6600"/>
              <a:buFont typeface="Tahoma"/>
              <a:buNone/>
              <a:defRPr sz="3400" b="1" i="0" u="none" strike="noStrike"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6" name="Google Shape;16;p3"/>
          <p:cNvSpPr txBox="1">
            <a:spLocks noGrp="1"/>
          </p:cNvSpPr>
          <p:nvPr>
            <p:ph type="body" idx="1"/>
          </p:nvPr>
        </p:nvSpPr>
        <p:spPr>
          <a:xfrm>
            <a:off x="672307" y="1872000"/>
            <a:ext cx="22927960" cy="523179"/>
          </a:xfrm>
          <a:prstGeom prst="rect">
            <a:avLst/>
          </a:prstGeom>
          <a:noFill/>
          <a:ln>
            <a:noFill/>
          </a:ln>
        </p:spPr>
        <p:txBody>
          <a:bodyPr spcFirstLastPara="1" wrap="square" lIns="91425" tIns="45700" rIns="91425" bIns="45700" anchor="ctr" anchorCtr="0">
            <a:noAutofit/>
          </a:bodyPr>
          <a:lstStyle>
            <a:lvl1pPr marL="50800" marR="0" lvl="0" indent="0" algn="l" rtl="0">
              <a:lnSpc>
                <a:spcPct val="120000"/>
              </a:lnSpc>
              <a:spcBef>
                <a:spcPts val="1272"/>
              </a:spcBef>
              <a:spcAft>
                <a:spcPts val="0"/>
              </a:spcAft>
              <a:buClr>
                <a:schemeClr val="dk2"/>
              </a:buClr>
              <a:buSzPts val="2800"/>
              <a:buFont typeface="Arial"/>
              <a:buNone/>
              <a:defRPr sz="2800" b="1" i="0" u="none" strike="noStrike" cap="none">
                <a:solidFill>
                  <a:srgbClr val="F99E15"/>
                </a:solidFill>
                <a:latin typeface="Montserrat" pitchFamily="2" charset="77"/>
                <a:ea typeface="Tahoma"/>
                <a:cs typeface="Tahoma"/>
                <a:sym typeface="Tahoma"/>
              </a:defRPr>
            </a:lvl1pPr>
            <a:lvl2pPr marL="914400" marR="0" lvl="1" indent="-704913" algn="l" rtl="0">
              <a:spcBef>
                <a:spcPts val="1500"/>
              </a:spcBef>
              <a:spcAft>
                <a:spcPts val="0"/>
              </a:spcAft>
              <a:buClr>
                <a:schemeClr val="dk1"/>
              </a:buClr>
              <a:buSzPts val="7501"/>
              <a:buFont typeface="Arial"/>
              <a:buChar char="–"/>
              <a:defRPr sz="7501" b="0" i="0" u="none" strike="noStrike" cap="none">
                <a:solidFill>
                  <a:schemeClr val="dk1"/>
                </a:solidFill>
                <a:latin typeface="Calibri"/>
                <a:ea typeface="Calibri"/>
                <a:cs typeface="Calibri"/>
                <a:sym typeface="Calibri"/>
              </a:defRPr>
            </a:lvl2pPr>
            <a:lvl3pPr marL="1371600" marR="0" lvl="2" indent="-635063" algn="l" rtl="0">
              <a:spcBef>
                <a:spcPts val="1280"/>
              </a:spcBef>
              <a:spcAft>
                <a:spcPts val="0"/>
              </a:spcAft>
              <a:buClr>
                <a:schemeClr val="dk1"/>
              </a:buClr>
              <a:buSzPts val="6401"/>
              <a:buFont typeface="Arial"/>
              <a:buChar char="•"/>
              <a:defRPr sz="6401" b="0" i="0" u="none" strike="noStrike" cap="none">
                <a:solidFill>
                  <a:schemeClr val="dk1"/>
                </a:solidFill>
                <a:latin typeface="Calibri"/>
                <a:ea typeface="Calibri"/>
                <a:cs typeface="Calibri"/>
                <a:sym typeface="Calibri"/>
              </a:defRPr>
            </a:lvl3pPr>
            <a:lvl4pPr marL="1828800" marR="0" lvl="3"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4pPr>
            <a:lvl5pPr marL="2286000" marR="0" lvl="4"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5pPr>
            <a:lvl6pPr marL="2743200" marR="0" lvl="5"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6pPr>
            <a:lvl7pPr marL="3200400" marR="0" lvl="6"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7pPr>
            <a:lvl8pPr marL="3657600" marR="0" lvl="7"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8pPr>
            <a:lvl9pPr marL="4114800" marR="0" lvl="8"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9pPr>
          </a:lstStyle>
          <a:p>
            <a:endParaRPr dirty="0"/>
          </a:p>
        </p:txBody>
      </p:sp>
      <p:sp>
        <p:nvSpPr>
          <p:cNvPr id="2" name="Slide Number Placeholder 5">
            <a:extLst>
              <a:ext uri="{FF2B5EF4-FFF2-40B4-BE49-F238E27FC236}">
                <a16:creationId xmlns:a16="http://schemas.microsoft.com/office/drawing/2014/main" id="{9382C6FD-854F-C5B8-AC05-4844C2CD531E}"/>
              </a:ext>
            </a:extLst>
          </p:cNvPr>
          <p:cNvSpPr txBox="1">
            <a:spLocks/>
          </p:cNvSpPr>
          <p:nvPr userDrawn="1"/>
        </p:nvSpPr>
        <p:spPr>
          <a:xfrm>
            <a:off x="21888000" y="12792280"/>
            <a:ext cx="1799757" cy="523179"/>
          </a:xfrm>
          <a:prstGeom prst="rect">
            <a:avLst/>
          </a:prstGeom>
        </p:spPr>
        <p:txBody>
          <a:bodyPr vert="horz" lIns="91440" tIns="45720" rIns="91440" bIns="45720" rtlCol="0" anchor="t"/>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i="0">
                <a:solidFill>
                  <a:schemeClr val="tx2"/>
                </a:solidFill>
                <a:latin typeface="Montserrat" pitchFamily="2" charset="77"/>
              </a:rPr>
              <a:t>  </a:t>
            </a:r>
            <a:fld id="{B7002F9C-17DA-404C-AAC4-8C00A0388562}" type="slidenum">
              <a:rPr lang="en-US" sz="2800" b="1" i="0" smtClean="0">
                <a:solidFill>
                  <a:schemeClr val="tx2"/>
                </a:solidFill>
                <a:latin typeface="Montserrat" pitchFamily="2" charset="77"/>
              </a:rPr>
              <a:pPr/>
              <a:t>‹#›</a:t>
            </a:fld>
            <a:endParaRPr lang="en-US" sz="2800" b="1" i="0">
              <a:solidFill>
                <a:schemeClr val="tx2"/>
              </a:solidFill>
              <a:latin typeface="Montserrat" pitchFamily="2" charset="77"/>
            </a:endParaRPr>
          </a:p>
        </p:txBody>
      </p:sp>
      <p:pic>
        <p:nvPicPr>
          <p:cNvPr id="6" name="Picture 6" descr="Download London School of Economics and Political Science ...">
            <a:extLst>
              <a:ext uri="{FF2B5EF4-FFF2-40B4-BE49-F238E27FC236}">
                <a16:creationId xmlns:a16="http://schemas.microsoft.com/office/drawing/2014/main" id="{3D835E88-9B21-5E33-DD7B-71730B3E7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121" t="30395" r="12836" b="26496"/>
          <a:stretch/>
        </p:blipFill>
        <p:spPr bwMode="auto">
          <a:xfrm>
            <a:off x="837677" y="12753683"/>
            <a:ext cx="1463278" cy="6003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3644B3E-5300-2F79-9F2F-0B89DB5D396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36172" b="37781"/>
          <a:stretch/>
        </p:blipFill>
        <p:spPr bwMode="auto">
          <a:xfrm>
            <a:off x="2371345" y="12825009"/>
            <a:ext cx="1757346" cy="457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18699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guide id="3" pos="514" userDrawn="1">
          <p15:clr>
            <a:srgbClr val="FBAE40"/>
          </p15:clr>
        </p15:guide>
        <p15:guide id="4" pos="14848" userDrawn="1">
          <p15:clr>
            <a:srgbClr val="FBAE40"/>
          </p15:clr>
        </p15:guide>
        <p15:guide id="5" orient="horz" pos="1463" userDrawn="1">
          <p15:clr>
            <a:srgbClr val="FBAE40"/>
          </p15:clr>
        </p15:guide>
        <p15:guide id="7" orient="horz" pos="8221" userDrawn="1">
          <p15:clr>
            <a:srgbClr val="FBAE40"/>
          </p15:clr>
        </p15:guide>
        <p15:guide id="8" orient="horz" pos="42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ackground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19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9379074"/>
            <a:ext cx="9871588" cy="280831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Полилиния 5">
            <a:extLst>
              <a:ext uri="{FF2B5EF4-FFF2-40B4-BE49-F238E27FC236}">
                <a16:creationId xmlns:a16="http://schemas.microsoft.com/office/drawing/2014/main" id="{44C5E139-F76B-7F43-A4D3-0DCCC35F5013}"/>
              </a:ext>
            </a:extLst>
          </p:cNvPr>
          <p:cNvSpPr>
            <a:spLocks/>
          </p:cNvSpPr>
          <p:nvPr userDrawn="1"/>
        </p:nvSpPr>
        <p:spPr bwMode="auto">
          <a:xfrm>
            <a:off x="7920207" y="-1"/>
            <a:ext cx="16496719" cy="10154152"/>
          </a:xfrm>
          <a:custGeom>
            <a:avLst/>
            <a:gdLst>
              <a:gd name="connsiteX0" fmla="*/ 3741204 w 16496719"/>
              <a:gd name="connsiteY0" fmla="*/ 0 h 10154152"/>
              <a:gd name="connsiteX1" fmla="*/ 16496719 w 16496719"/>
              <a:gd name="connsiteY1" fmla="*/ 0 h 10154152"/>
              <a:gd name="connsiteX2" fmla="*/ 16496719 w 16496719"/>
              <a:gd name="connsiteY2" fmla="*/ 10154152 h 10154152"/>
              <a:gd name="connsiteX3" fmla="*/ 16461977 w 16496719"/>
              <a:gd name="connsiteY3" fmla="*/ 10141306 h 10154152"/>
              <a:gd name="connsiteX4" fmla="*/ 13688587 w 16496719"/>
              <a:gd name="connsiteY4" fmla="*/ 7397320 h 10154152"/>
              <a:gd name="connsiteX5" fmla="*/ 13336193 w 16496719"/>
              <a:gd name="connsiteY5" fmla="*/ 6451082 h 10154152"/>
              <a:gd name="connsiteX6" fmla="*/ 10473001 w 16496719"/>
              <a:gd name="connsiteY6" fmla="*/ 4338550 h 10154152"/>
              <a:gd name="connsiteX7" fmla="*/ 10406927 w 16496719"/>
              <a:gd name="connsiteY7" fmla="*/ 4338550 h 10154152"/>
              <a:gd name="connsiteX8" fmla="*/ 7830054 w 16496719"/>
              <a:gd name="connsiteY8" fmla="*/ 6253032 h 10154152"/>
              <a:gd name="connsiteX9" fmla="*/ 7609809 w 16496719"/>
              <a:gd name="connsiteY9" fmla="*/ 6715148 h 10154152"/>
              <a:gd name="connsiteX10" fmla="*/ 2059620 w 16496719"/>
              <a:gd name="connsiteY10" fmla="*/ 8409574 h 10154152"/>
              <a:gd name="connsiteX11" fmla="*/ 341704 w 16496719"/>
              <a:gd name="connsiteY11" fmla="*/ 3260278 h 10154152"/>
              <a:gd name="connsiteX12" fmla="*/ 2389988 w 16496719"/>
              <a:gd name="connsiteY12" fmla="*/ 1235770 h 10154152"/>
              <a:gd name="connsiteX13" fmla="*/ 3708709 w 16496719"/>
              <a:gd name="connsiteY13" fmla="*/ 58473 h 1015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96719" h="10154152">
                <a:moveTo>
                  <a:pt x="3741204" y="0"/>
                </a:moveTo>
                <a:lnTo>
                  <a:pt x="16496719" y="0"/>
                </a:lnTo>
                <a:lnTo>
                  <a:pt x="16496719" y="10154152"/>
                </a:lnTo>
                <a:lnTo>
                  <a:pt x="16461977" y="10141306"/>
                </a:lnTo>
                <a:cubicBezTo>
                  <a:pt x="15216971" y="9628818"/>
                  <a:pt x="14218553" y="8637882"/>
                  <a:pt x="13688587" y="7397320"/>
                </a:cubicBezTo>
                <a:cubicBezTo>
                  <a:pt x="13534415" y="7089242"/>
                  <a:pt x="13424291" y="6781164"/>
                  <a:pt x="13336193" y="6451082"/>
                </a:cubicBezTo>
                <a:cubicBezTo>
                  <a:pt x="13027849" y="5152754"/>
                  <a:pt x="11816499" y="4294538"/>
                  <a:pt x="10473001" y="4338550"/>
                </a:cubicBezTo>
                <a:cubicBezTo>
                  <a:pt x="10450975" y="4338550"/>
                  <a:pt x="10428951" y="4338550"/>
                  <a:pt x="10406927" y="4338550"/>
                </a:cubicBezTo>
                <a:cubicBezTo>
                  <a:pt x="9239625" y="4382560"/>
                  <a:pt x="8226495" y="5152754"/>
                  <a:pt x="7830054" y="6253032"/>
                </a:cubicBezTo>
                <a:cubicBezTo>
                  <a:pt x="7763980" y="6407070"/>
                  <a:pt x="7697907" y="6561108"/>
                  <a:pt x="7609809" y="6715148"/>
                </a:cubicBezTo>
                <a:cubicBezTo>
                  <a:pt x="6596679" y="8761662"/>
                  <a:pt x="4063855" y="9531856"/>
                  <a:pt x="2059620" y="8409574"/>
                </a:cubicBezTo>
                <a:cubicBezTo>
                  <a:pt x="253606" y="7397320"/>
                  <a:pt x="-495229" y="5152754"/>
                  <a:pt x="341704" y="3260278"/>
                </a:cubicBezTo>
                <a:cubicBezTo>
                  <a:pt x="782196" y="2314041"/>
                  <a:pt x="1509005" y="1631868"/>
                  <a:pt x="2389988" y="1235770"/>
                </a:cubicBezTo>
                <a:cubicBezTo>
                  <a:pt x="2951614" y="982705"/>
                  <a:pt x="3403118" y="564600"/>
                  <a:pt x="3708709" y="58473"/>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7" name="Рисунок 7">
            <a:extLst>
              <a:ext uri="{FF2B5EF4-FFF2-40B4-BE49-F238E27FC236}">
                <a16:creationId xmlns:a16="http://schemas.microsoft.com/office/drawing/2014/main" id="{ADE7A0B1-1168-A740-A946-B67C4A2B72FC}"/>
              </a:ext>
            </a:extLst>
          </p:cNvPr>
          <p:cNvSpPr>
            <a:spLocks noGrp="1"/>
          </p:cNvSpPr>
          <p:nvPr>
            <p:ph type="pic" sz="quarter" idx="33"/>
          </p:nvPr>
        </p:nvSpPr>
        <p:spPr>
          <a:xfrm>
            <a:off x="10311945" y="-1"/>
            <a:ext cx="14104981" cy="8754254"/>
          </a:xfrm>
          <a:custGeom>
            <a:avLst/>
            <a:gdLst>
              <a:gd name="connsiteX0" fmla="*/ 1196961 w 14104981"/>
              <a:gd name="connsiteY0" fmla="*/ 0 h 8754254"/>
              <a:gd name="connsiteX1" fmla="*/ 14104981 w 14104981"/>
              <a:gd name="connsiteY1" fmla="*/ 0 h 8754254"/>
              <a:gd name="connsiteX2" fmla="*/ 14104981 w 14104981"/>
              <a:gd name="connsiteY2" fmla="*/ 2390948 h 8754254"/>
              <a:gd name="connsiteX3" fmla="*/ 14092223 w 14104981"/>
              <a:gd name="connsiteY3" fmla="*/ 2357440 h 8754254"/>
              <a:gd name="connsiteX4" fmla="*/ 12403105 w 14104981"/>
              <a:gd name="connsiteY4" fmla="*/ 1343588 h 8754254"/>
              <a:gd name="connsiteX5" fmla="*/ 12366309 w 14104981"/>
              <a:gd name="connsiteY5" fmla="*/ 1343588 h 8754254"/>
              <a:gd name="connsiteX6" fmla="*/ 10784025 w 14104981"/>
              <a:gd name="connsiteY6" fmla="*/ 3108331 h 8754254"/>
              <a:gd name="connsiteX7" fmla="*/ 10784025 w 14104981"/>
              <a:gd name="connsiteY7" fmla="*/ 3237011 h 8754254"/>
              <a:gd name="connsiteX8" fmla="*/ 5540414 w 14104981"/>
              <a:gd name="connsiteY8" fmla="*/ 8751833 h 8754254"/>
              <a:gd name="connsiteX9" fmla="*/ 2423 w 14104981"/>
              <a:gd name="connsiteY9" fmla="*/ 3200245 h 8754254"/>
              <a:gd name="connsiteX10" fmla="*/ 1116584 w 14104981"/>
              <a:gd name="connsiteY10" fmla="*/ 99535 h 875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4981" h="8754254">
                <a:moveTo>
                  <a:pt x="1196961" y="0"/>
                </a:moveTo>
                <a:lnTo>
                  <a:pt x="14104981" y="0"/>
                </a:lnTo>
                <a:lnTo>
                  <a:pt x="14104981" y="2390948"/>
                </a:lnTo>
                <a:lnTo>
                  <a:pt x="14092223" y="2357440"/>
                </a:lnTo>
                <a:cubicBezTo>
                  <a:pt x="13809739" y="1707509"/>
                  <a:pt x="13127553" y="1279249"/>
                  <a:pt x="12403105" y="1343588"/>
                </a:cubicBezTo>
                <a:cubicBezTo>
                  <a:pt x="12403105" y="1343588"/>
                  <a:pt x="12403105" y="1343588"/>
                  <a:pt x="12366309" y="1343588"/>
                </a:cubicBezTo>
                <a:cubicBezTo>
                  <a:pt x="11446377" y="1417120"/>
                  <a:pt x="10747227" y="2189195"/>
                  <a:pt x="10784025" y="3108331"/>
                </a:cubicBezTo>
                <a:cubicBezTo>
                  <a:pt x="10784025" y="3145097"/>
                  <a:pt x="10784025" y="3200245"/>
                  <a:pt x="10784025" y="3237011"/>
                </a:cubicBezTo>
                <a:cubicBezTo>
                  <a:pt x="10857619" y="6215015"/>
                  <a:pt x="8539391" y="8678303"/>
                  <a:pt x="5540414" y="8751833"/>
                </a:cubicBezTo>
                <a:cubicBezTo>
                  <a:pt x="2449444" y="8843747"/>
                  <a:pt x="-89569" y="6306929"/>
                  <a:pt x="2423" y="3200245"/>
                </a:cubicBezTo>
                <a:cubicBezTo>
                  <a:pt x="39796" y="2035239"/>
                  <a:pt x="450657" y="964283"/>
                  <a:pt x="1116584" y="995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3501012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50000">
                                          <p:cBhvr additive="base">
                                            <p:cTn id="11"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9B4BC5EA-2F08-F34C-A0D4-EC24223DA53C}"/>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89DEF72-CCDD-6C4A-B6A3-4E3BC06223F3}"/>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B0DAE69A-7A37-1A45-ACA8-57CAB434E921}"/>
              </a:ext>
            </a:extLst>
          </p:cNvPr>
          <p:cNvSpPr>
            <a:spLocks/>
          </p:cNvSpPr>
          <p:nvPr userDrawn="1"/>
        </p:nvSpPr>
        <p:spPr bwMode="auto">
          <a:xfrm>
            <a:off x="0" y="0"/>
            <a:ext cx="15438492" cy="10523486"/>
          </a:xfrm>
          <a:custGeom>
            <a:avLst/>
            <a:gdLst>
              <a:gd name="connsiteX0" fmla="*/ 0 w 15438492"/>
              <a:gd name="connsiteY0" fmla="*/ 0 h 10523486"/>
              <a:gd name="connsiteX1" fmla="*/ 15438492 w 15438492"/>
              <a:gd name="connsiteY1" fmla="*/ 0 h 10523486"/>
              <a:gd name="connsiteX2" fmla="*/ 15358772 w 15438492"/>
              <a:gd name="connsiteY2" fmla="*/ 98718 h 10523486"/>
              <a:gd name="connsiteX3" fmla="*/ 10538752 w 15438492"/>
              <a:gd name="connsiteY3" fmla="*/ 2402062 h 10523486"/>
              <a:gd name="connsiteX4" fmla="*/ 9525620 w 15438492"/>
              <a:gd name="connsiteY4" fmla="*/ 2336046 h 10523486"/>
              <a:gd name="connsiteX5" fmla="*/ 6970772 w 15438492"/>
              <a:gd name="connsiteY5" fmla="*/ 4822672 h 10523486"/>
              <a:gd name="connsiteX6" fmla="*/ 6970772 w 15438492"/>
              <a:gd name="connsiteY6" fmla="*/ 4866682 h 10523486"/>
              <a:gd name="connsiteX7" fmla="*/ 6992796 w 15438492"/>
              <a:gd name="connsiteY7" fmla="*/ 4888688 h 10523486"/>
              <a:gd name="connsiteX8" fmla="*/ 6992796 w 15438492"/>
              <a:gd name="connsiteY8" fmla="*/ 4910692 h 10523486"/>
              <a:gd name="connsiteX9" fmla="*/ 7014820 w 15438492"/>
              <a:gd name="connsiteY9" fmla="*/ 5416820 h 10523486"/>
              <a:gd name="connsiteX10" fmla="*/ 1795000 w 15438492"/>
              <a:gd name="connsiteY10" fmla="*/ 10522106 h 10523486"/>
              <a:gd name="connsiteX11" fmla="*/ 310752 w 15438492"/>
              <a:gd name="connsiteY11" fmla="*/ 10269042 h 10523486"/>
              <a:gd name="connsiteX12" fmla="*/ 0 w 15438492"/>
              <a:gd name="connsiteY12" fmla="*/ 10154152 h 1052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38492" h="10523486">
                <a:moveTo>
                  <a:pt x="0" y="0"/>
                </a:moveTo>
                <a:lnTo>
                  <a:pt x="15438492" y="0"/>
                </a:lnTo>
                <a:lnTo>
                  <a:pt x="15358772" y="98718"/>
                </a:lnTo>
                <a:cubicBezTo>
                  <a:pt x="14191128" y="1478346"/>
                  <a:pt x="12459016" y="2364928"/>
                  <a:pt x="10538752" y="2402062"/>
                </a:cubicBezTo>
                <a:cubicBezTo>
                  <a:pt x="10186356" y="2402062"/>
                  <a:pt x="9855988" y="2380057"/>
                  <a:pt x="9525620" y="2336046"/>
                </a:cubicBezTo>
                <a:cubicBezTo>
                  <a:pt x="8072000" y="2137997"/>
                  <a:pt x="6816600" y="3348300"/>
                  <a:pt x="6970772" y="4822672"/>
                </a:cubicBezTo>
                <a:cubicBezTo>
                  <a:pt x="6970772" y="4822672"/>
                  <a:pt x="6970772" y="4822672"/>
                  <a:pt x="6970772" y="4866682"/>
                </a:cubicBezTo>
                <a:cubicBezTo>
                  <a:pt x="6970772" y="4888688"/>
                  <a:pt x="6992796" y="4888688"/>
                  <a:pt x="6992796" y="4888688"/>
                </a:cubicBezTo>
                <a:cubicBezTo>
                  <a:pt x="6992796" y="4888688"/>
                  <a:pt x="6992796" y="4888688"/>
                  <a:pt x="6992796" y="4910692"/>
                </a:cubicBezTo>
                <a:cubicBezTo>
                  <a:pt x="6992796" y="5064732"/>
                  <a:pt x="7014820" y="5240776"/>
                  <a:pt x="7014820" y="5416820"/>
                </a:cubicBezTo>
                <a:cubicBezTo>
                  <a:pt x="7014820" y="8277540"/>
                  <a:pt x="4658192" y="10588122"/>
                  <a:pt x="1795000" y="10522106"/>
                </a:cubicBezTo>
                <a:cubicBezTo>
                  <a:pt x="1277424" y="10511104"/>
                  <a:pt x="779118" y="10423080"/>
                  <a:pt x="310752" y="10269042"/>
                </a:cubicBezTo>
                <a:lnTo>
                  <a:pt x="0" y="10154152"/>
                </a:ln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49C5F6F8-FEFE-604D-8869-6A96861A56D7}"/>
              </a:ext>
            </a:extLst>
          </p:cNvPr>
          <p:cNvSpPr>
            <a:spLocks noGrp="1"/>
          </p:cNvSpPr>
          <p:nvPr>
            <p:ph type="pic" sz="quarter" idx="33"/>
          </p:nvPr>
        </p:nvSpPr>
        <p:spPr>
          <a:xfrm>
            <a:off x="-2" y="-1"/>
            <a:ext cx="10647868" cy="6760080"/>
          </a:xfrm>
          <a:custGeom>
            <a:avLst/>
            <a:gdLst>
              <a:gd name="connsiteX0" fmla="*/ 0 w 10647868"/>
              <a:gd name="connsiteY0" fmla="*/ 0 h 6760080"/>
              <a:gd name="connsiteX1" fmla="*/ 10647868 w 10647868"/>
              <a:gd name="connsiteY1" fmla="*/ 0 h 6760080"/>
              <a:gd name="connsiteX2" fmla="*/ 10592752 w 10647868"/>
              <a:gd name="connsiteY2" fmla="*/ 99180 h 6760080"/>
              <a:gd name="connsiteX3" fmla="*/ 10312436 w 10647868"/>
              <a:gd name="connsiteY3" fmla="*/ 1361970 h 6760080"/>
              <a:gd name="connsiteX4" fmla="*/ 10238840 w 10647868"/>
              <a:gd name="connsiteY4" fmla="*/ 2464935 h 6760080"/>
              <a:gd name="connsiteX5" fmla="*/ 4590460 w 10647868"/>
              <a:gd name="connsiteY5" fmla="*/ 6729732 h 6760080"/>
              <a:gd name="connsiteX6" fmla="*/ 82792 w 10647868"/>
              <a:gd name="connsiteY6" fmla="*/ 2648763 h 6760080"/>
              <a:gd name="connsiteX7" fmla="*/ 41526 w 10647868"/>
              <a:gd name="connsiteY7" fmla="*/ 2500005 h 6760080"/>
              <a:gd name="connsiteX8" fmla="*/ 0 w 10647868"/>
              <a:gd name="connsiteY8" fmla="*/ 2390948 h 67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868" h="6760080">
                <a:moveTo>
                  <a:pt x="0" y="0"/>
                </a:moveTo>
                <a:lnTo>
                  <a:pt x="10647868" y="0"/>
                </a:lnTo>
                <a:lnTo>
                  <a:pt x="10592752" y="99180"/>
                </a:lnTo>
                <a:cubicBezTo>
                  <a:pt x="10396452" y="484338"/>
                  <a:pt x="10296336" y="919636"/>
                  <a:pt x="10312436" y="1361970"/>
                </a:cubicBezTo>
                <a:cubicBezTo>
                  <a:pt x="10330832" y="1729626"/>
                  <a:pt x="10312436" y="2097280"/>
                  <a:pt x="10238840" y="2464935"/>
                </a:cubicBezTo>
                <a:cubicBezTo>
                  <a:pt x="9778876" y="5148816"/>
                  <a:pt x="7295058" y="7023856"/>
                  <a:pt x="4590460" y="6729732"/>
                </a:cubicBezTo>
                <a:cubicBezTo>
                  <a:pt x="2290628" y="6472372"/>
                  <a:pt x="524360" y="4781160"/>
                  <a:pt x="82792" y="2648763"/>
                </a:cubicBezTo>
                <a:cubicBezTo>
                  <a:pt x="71294" y="2598211"/>
                  <a:pt x="57494" y="2548592"/>
                  <a:pt x="41526" y="2500005"/>
                </a:cubicBezTo>
                <a:lnTo>
                  <a:pt x="0" y="239094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7056773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8">
            <a:extLst>
              <a:ext uri="{FF2B5EF4-FFF2-40B4-BE49-F238E27FC236}">
                <a16:creationId xmlns:a16="http://schemas.microsoft.com/office/drawing/2014/main" id="{1055395D-A172-BC4A-8C2D-F6D8ACAE785D}"/>
              </a:ext>
            </a:extLst>
          </p:cNvPr>
          <p:cNvSpPr>
            <a:spLocks/>
          </p:cNvSpPr>
          <p:nvPr userDrawn="1"/>
        </p:nvSpPr>
        <p:spPr bwMode="auto">
          <a:xfrm rot="10800000">
            <a:off x="199372" y="200006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E7102074-204F-E64E-B4D7-DC52038C5F76}"/>
              </a:ext>
            </a:extLst>
          </p:cNvPr>
          <p:cNvSpPr>
            <a:spLocks noGrp="1"/>
          </p:cNvSpPr>
          <p:nvPr>
            <p:ph type="pic" sz="quarter" idx="33"/>
          </p:nvPr>
        </p:nvSpPr>
        <p:spPr>
          <a:xfrm>
            <a:off x="1491838" y="2627846"/>
            <a:ext cx="11052749" cy="8353697"/>
          </a:xfrm>
          <a:custGeom>
            <a:avLst/>
            <a:gdLst>
              <a:gd name="connsiteX0" fmla="*/ 8113314 w 11052749"/>
              <a:gd name="connsiteY0" fmla="*/ 996 h 8353697"/>
              <a:gd name="connsiteX1" fmla="*/ 10199499 w 11052749"/>
              <a:gd name="connsiteY1" fmla="*/ 2056728 h 8353697"/>
              <a:gd name="connsiteX2" fmla="*/ 10097508 w 11052749"/>
              <a:gd name="connsiteY2" fmla="*/ 2825312 h 8353697"/>
              <a:gd name="connsiteX3" fmla="*/ 10347850 w 11052749"/>
              <a:gd name="connsiteY3" fmla="*/ 3899479 h 8353697"/>
              <a:gd name="connsiteX4" fmla="*/ 11052517 w 11052749"/>
              <a:gd name="connsiteY4" fmla="*/ 5714449 h 8353697"/>
              <a:gd name="connsiteX5" fmla="*/ 8428560 w 11052749"/>
              <a:gd name="connsiteY5" fmla="*/ 8353564 h 8353697"/>
              <a:gd name="connsiteX6" fmla="*/ 6184752 w 11052749"/>
              <a:gd name="connsiteY6" fmla="*/ 7168277 h 8353697"/>
              <a:gd name="connsiteX7" fmla="*/ 4803234 w 11052749"/>
              <a:gd name="connsiteY7" fmla="*/ 6770095 h 8353697"/>
              <a:gd name="connsiteX8" fmla="*/ 3393900 w 11052749"/>
              <a:gd name="connsiteY8" fmla="*/ 7075676 h 8353697"/>
              <a:gd name="connsiteX9" fmla="*/ 373 w 11052749"/>
              <a:gd name="connsiteY9" fmla="*/ 3640197 h 8353697"/>
              <a:gd name="connsiteX10" fmla="*/ 3403172 w 11052749"/>
              <a:gd name="connsiteY10" fmla="*/ 306578 h 8353697"/>
              <a:gd name="connsiteX11" fmla="*/ 5146296 w 11052749"/>
              <a:gd name="connsiteY11" fmla="*/ 797361 h 8353697"/>
              <a:gd name="connsiteX12" fmla="*/ 6509270 w 11052749"/>
              <a:gd name="connsiteY12" fmla="*/ 630680 h 8353697"/>
              <a:gd name="connsiteX13" fmla="*/ 8113314 w 11052749"/>
              <a:gd name="connsiteY13" fmla="*/ 996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49" h="8353697">
                <a:moveTo>
                  <a:pt x="8113314" y="996"/>
                </a:moveTo>
                <a:cubicBezTo>
                  <a:pt x="9225946" y="38036"/>
                  <a:pt x="10143868" y="936261"/>
                  <a:pt x="10199499" y="2056728"/>
                </a:cubicBezTo>
                <a:cubicBezTo>
                  <a:pt x="10208771" y="2325269"/>
                  <a:pt x="10171683" y="2584551"/>
                  <a:pt x="10097508" y="2825312"/>
                </a:cubicBezTo>
                <a:cubicBezTo>
                  <a:pt x="9976973" y="3195715"/>
                  <a:pt x="10078964" y="3612417"/>
                  <a:pt x="10347850" y="3899479"/>
                </a:cubicBezTo>
                <a:cubicBezTo>
                  <a:pt x="10792903" y="4371741"/>
                  <a:pt x="11061789" y="5010685"/>
                  <a:pt x="11052517" y="5714449"/>
                </a:cubicBezTo>
                <a:cubicBezTo>
                  <a:pt x="11052517" y="7159017"/>
                  <a:pt x="9874982" y="8335044"/>
                  <a:pt x="8428560" y="8353564"/>
                </a:cubicBezTo>
                <a:cubicBezTo>
                  <a:pt x="7492095" y="8362824"/>
                  <a:pt x="6666893" y="7890562"/>
                  <a:pt x="6184752" y="7168277"/>
                </a:cubicBezTo>
                <a:cubicBezTo>
                  <a:pt x="5878779" y="6714534"/>
                  <a:pt x="5303919" y="6538594"/>
                  <a:pt x="4803234" y="6770095"/>
                </a:cubicBezTo>
                <a:cubicBezTo>
                  <a:pt x="4376725" y="6964556"/>
                  <a:pt x="3894585" y="7075676"/>
                  <a:pt x="3393900" y="7075676"/>
                </a:cubicBezTo>
                <a:cubicBezTo>
                  <a:pt x="1502426" y="7075676"/>
                  <a:pt x="-27443" y="5529248"/>
                  <a:pt x="373" y="3640197"/>
                </a:cubicBezTo>
                <a:cubicBezTo>
                  <a:pt x="28189" y="1797446"/>
                  <a:pt x="1558058" y="297318"/>
                  <a:pt x="3403172" y="306578"/>
                </a:cubicBezTo>
                <a:cubicBezTo>
                  <a:pt x="4042936" y="306578"/>
                  <a:pt x="4645612" y="482519"/>
                  <a:pt x="5146296" y="797361"/>
                </a:cubicBezTo>
                <a:cubicBezTo>
                  <a:pt x="5591349" y="1056642"/>
                  <a:pt x="6147665" y="982562"/>
                  <a:pt x="6509270" y="630680"/>
                </a:cubicBezTo>
                <a:cubicBezTo>
                  <a:pt x="6917235" y="223238"/>
                  <a:pt x="7482823" y="-17524"/>
                  <a:pt x="8113314" y="99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5C565A03-D6CC-CC4F-A8E5-58862FE23668}"/>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8BB868-827D-B944-BFF2-4FFE1B7272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8637484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8">
            <a:extLst>
              <a:ext uri="{FF2B5EF4-FFF2-40B4-BE49-F238E27FC236}">
                <a16:creationId xmlns:a16="http://schemas.microsoft.com/office/drawing/2014/main" id="{603B86A3-7AC7-8B43-919D-6AFBDA417F1F}"/>
              </a:ext>
            </a:extLst>
          </p:cNvPr>
          <p:cNvSpPr>
            <a:spLocks/>
          </p:cNvSpPr>
          <p:nvPr userDrawn="1"/>
        </p:nvSpPr>
        <p:spPr bwMode="auto">
          <a:xfrm>
            <a:off x="10208484" y="164002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750E73B-BA42-2E4F-B0AA-D727E7F55229}"/>
              </a:ext>
            </a:extLst>
          </p:cNvPr>
          <p:cNvSpPr>
            <a:spLocks noGrp="1"/>
          </p:cNvSpPr>
          <p:nvPr>
            <p:ph type="pic" sz="quarter" idx="33"/>
          </p:nvPr>
        </p:nvSpPr>
        <p:spPr>
          <a:xfrm>
            <a:off x="11626562" y="3051497"/>
            <a:ext cx="11052750" cy="8353697"/>
          </a:xfrm>
          <a:custGeom>
            <a:avLst/>
            <a:gdLst>
              <a:gd name="connsiteX0" fmla="*/ 2624189 w 11052750"/>
              <a:gd name="connsiteY0" fmla="*/ 133 h 8353697"/>
              <a:gd name="connsiteX1" fmla="*/ 4867997 w 11052750"/>
              <a:gd name="connsiteY1" fmla="*/ 1185420 h 8353697"/>
              <a:gd name="connsiteX2" fmla="*/ 6249515 w 11052750"/>
              <a:gd name="connsiteY2" fmla="*/ 1583602 h 8353697"/>
              <a:gd name="connsiteX3" fmla="*/ 7658849 w 11052750"/>
              <a:gd name="connsiteY3" fmla="*/ 1278020 h 8353697"/>
              <a:gd name="connsiteX4" fmla="*/ 11052377 w 11052750"/>
              <a:gd name="connsiteY4" fmla="*/ 4713500 h 8353697"/>
              <a:gd name="connsiteX5" fmla="*/ 7649577 w 11052750"/>
              <a:gd name="connsiteY5" fmla="*/ 8047119 h 8353697"/>
              <a:gd name="connsiteX6" fmla="*/ 5906453 w 11052750"/>
              <a:gd name="connsiteY6" fmla="*/ 7556336 h 8353697"/>
              <a:gd name="connsiteX7" fmla="*/ 4543479 w 11052750"/>
              <a:gd name="connsiteY7" fmla="*/ 7723017 h 8353697"/>
              <a:gd name="connsiteX8" fmla="*/ 2939435 w 11052750"/>
              <a:gd name="connsiteY8" fmla="*/ 8352701 h 8353697"/>
              <a:gd name="connsiteX9" fmla="*/ 853250 w 11052750"/>
              <a:gd name="connsiteY9" fmla="*/ 6296969 h 8353697"/>
              <a:gd name="connsiteX10" fmla="*/ 955241 w 11052750"/>
              <a:gd name="connsiteY10" fmla="*/ 5528385 h 8353697"/>
              <a:gd name="connsiteX11" fmla="*/ 704899 w 11052750"/>
              <a:gd name="connsiteY11" fmla="*/ 4454219 h 8353697"/>
              <a:gd name="connsiteX12" fmla="*/ 232 w 11052750"/>
              <a:gd name="connsiteY12" fmla="*/ 2639248 h 8353697"/>
              <a:gd name="connsiteX13" fmla="*/ 2624189 w 11052750"/>
              <a:gd name="connsiteY13" fmla="*/ 133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50" h="8353697">
                <a:moveTo>
                  <a:pt x="2624189" y="133"/>
                </a:moveTo>
                <a:cubicBezTo>
                  <a:pt x="3560654" y="-9127"/>
                  <a:pt x="4385857" y="463135"/>
                  <a:pt x="4867997" y="1185420"/>
                </a:cubicBezTo>
                <a:cubicBezTo>
                  <a:pt x="5173971" y="1639162"/>
                  <a:pt x="5748831" y="1815103"/>
                  <a:pt x="6249515" y="1583602"/>
                </a:cubicBezTo>
                <a:cubicBezTo>
                  <a:pt x="6676025" y="1389141"/>
                  <a:pt x="7158165" y="1278020"/>
                  <a:pt x="7658849" y="1278020"/>
                </a:cubicBezTo>
                <a:cubicBezTo>
                  <a:pt x="9550323" y="1278020"/>
                  <a:pt x="11080193" y="2824449"/>
                  <a:pt x="11052377" y="4713500"/>
                </a:cubicBezTo>
                <a:cubicBezTo>
                  <a:pt x="11024561" y="6556251"/>
                  <a:pt x="9494691" y="8056379"/>
                  <a:pt x="7649577" y="8047119"/>
                </a:cubicBezTo>
                <a:cubicBezTo>
                  <a:pt x="7009813" y="8047119"/>
                  <a:pt x="6407137" y="7871178"/>
                  <a:pt x="5906453" y="7556336"/>
                </a:cubicBezTo>
                <a:cubicBezTo>
                  <a:pt x="5461401" y="7297055"/>
                  <a:pt x="4905085" y="7371135"/>
                  <a:pt x="4543479" y="7723017"/>
                </a:cubicBezTo>
                <a:cubicBezTo>
                  <a:pt x="4135514" y="8130460"/>
                  <a:pt x="3569926" y="8371221"/>
                  <a:pt x="2939435" y="8352701"/>
                </a:cubicBezTo>
                <a:cubicBezTo>
                  <a:pt x="1826803" y="8315661"/>
                  <a:pt x="908881" y="7417436"/>
                  <a:pt x="853250" y="6296969"/>
                </a:cubicBezTo>
                <a:cubicBezTo>
                  <a:pt x="843978" y="6028428"/>
                  <a:pt x="881066" y="5769146"/>
                  <a:pt x="955241" y="5528385"/>
                </a:cubicBezTo>
                <a:cubicBezTo>
                  <a:pt x="1075776" y="5157983"/>
                  <a:pt x="973785" y="4741281"/>
                  <a:pt x="704899" y="4454219"/>
                </a:cubicBezTo>
                <a:cubicBezTo>
                  <a:pt x="259846" y="3981956"/>
                  <a:pt x="-9040" y="3343012"/>
                  <a:pt x="232" y="2639248"/>
                </a:cubicBezTo>
                <a:cubicBezTo>
                  <a:pt x="232" y="1194680"/>
                  <a:pt x="1177767" y="18653"/>
                  <a:pt x="2624189" y="13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71DBE8A-0BC1-054A-9972-E825332C6B50}"/>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D1E6C45-8492-6C46-B65D-6BFD01F4AB72}"/>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961587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7">
            <a:extLst>
              <a:ext uri="{FF2B5EF4-FFF2-40B4-BE49-F238E27FC236}">
                <a16:creationId xmlns:a16="http://schemas.microsoft.com/office/drawing/2014/main" id="{0745C386-64BD-E74F-819F-B2033E47FF18}"/>
              </a:ext>
            </a:extLst>
          </p:cNvPr>
          <p:cNvSpPr>
            <a:spLocks/>
          </p:cNvSpPr>
          <p:nvPr userDrawn="1"/>
        </p:nvSpPr>
        <p:spPr bwMode="auto">
          <a:xfrm flipH="1">
            <a:off x="456283" y="2394298"/>
            <a:ext cx="13782331" cy="1039005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9632D608-16C3-C447-BE49-FC597AABB64A}"/>
              </a:ext>
            </a:extLst>
          </p:cNvPr>
          <p:cNvSpPr>
            <a:spLocks noGrp="1"/>
          </p:cNvSpPr>
          <p:nvPr>
            <p:ph type="pic" sz="quarter" idx="33"/>
          </p:nvPr>
        </p:nvSpPr>
        <p:spPr>
          <a:xfrm>
            <a:off x="2040459" y="3762450"/>
            <a:ext cx="11378178" cy="8569928"/>
          </a:xfrm>
          <a:custGeom>
            <a:avLst/>
            <a:gdLst>
              <a:gd name="connsiteX0" fmla="*/ 9103366 w 11378178"/>
              <a:gd name="connsiteY0" fmla="*/ 635 h 8569928"/>
              <a:gd name="connsiteX1" fmla="*/ 11376920 w 11378178"/>
              <a:gd name="connsiteY1" fmla="*/ 2260567 h 8569928"/>
              <a:gd name="connsiteX2" fmla="*/ 10331085 w 11378178"/>
              <a:gd name="connsiteY2" fmla="*/ 4293598 h 8569928"/>
              <a:gd name="connsiteX3" fmla="*/ 9448946 w 11378178"/>
              <a:gd name="connsiteY3" fmla="*/ 5909131 h 8569928"/>
              <a:gd name="connsiteX4" fmla="*/ 9448946 w 11378178"/>
              <a:gd name="connsiteY4" fmla="*/ 5936359 h 8569928"/>
              <a:gd name="connsiteX5" fmla="*/ 6784339 w 11378178"/>
              <a:gd name="connsiteY5" fmla="*/ 8568408 h 8569928"/>
              <a:gd name="connsiteX6" fmla="*/ 5265605 w 11378178"/>
              <a:gd name="connsiteY6" fmla="*/ 8178139 h 8569928"/>
              <a:gd name="connsiteX7" fmla="*/ 3546798 w 11378178"/>
              <a:gd name="connsiteY7" fmla="*/ 8005694 h 8569928"/>
              <a:gd name="connsiteX8" fmla="*/ 2628281 w 11378178"/>
              <a:gd name="connsiteY8" fmla="*/ 8159987 h 8569928"/>
              <a:gd name="connsiteX9" fmla="*/ 52 w 11378178"/>
              <a:gd name="connsiteY9" fmla="*/ 5482558 h 8569928"/>
              <a:gd name="connsiteX10" fmla="*/ 1436939 w 11378178"/>
              <a:gd name="connsiteY10" fmla="*/ 3150018 h 8569928"/>
              <a:gd name="connsiteX11" fmla="*/ 1664295 w 11378178"/>
              <a:gd name="connsiteY11" fmla="*/ 2759748 h 8569928"/>
              <a:gd name="connsiteX12" fmla="*/ 1473316 w 11378178"/>
              <a:gd name="connsiteY12" fmla="*/ 2433011 h 8569928"/>
              <a:gd name="connsiteX13" fmla="*/ 1073170 w 11378178"/>
              <a:gd name="connsiteY13" fmla="*/ 1588940 h 8569928"/>
              <a:gd name="connsiteX14" fmla="*/ 1873462 w 11378178"/>
              <a:gd name="connsiteY14" fmla="*/ 799326 h 8569928"/>
              <a:gd name="connsiteX15" fmla="*/ 2773789 w 11378178"/>
              <a:gd name="connsiteY15" fmla="*/ 1298507 h 8569928"/>
              <a:gd name="connsiteX16" fmla="*/ 2910202 w 11378178"/>
              <a:gd name="connsiteY16" fmla="*/ 1389268 h 8569928"/>
              <a:gd name="connsiteX17" fmla="*/ 3073898 w 11378178"/>
              <a:gd name="connsiteY17" fmla="*/ 1307583 h 8569928"/>
              <a:gd name="connsiteX18" fmla="*/ 3555892 w 11378178"/>
              <a:gd name="connsiteY18" fmla="*/ 1035303 h 8569928"/>
              <a:gd name="connsiteX19" fmla="*/ 4010603 w 11378178"/>
              <a:gd name="connsiteY19" fmla="*/ 1280356 h 8569928"/>
              <a:gd name="connsiteX20" fmla="*/ 4147016 w 11378178"/>
              <a:gd name="connsiteY20" fmla="*/ 1334811 h 8569928"/>
              <a:gd name="connsiteX21" fmla="*/ 4237959 w 11378178"/>
              <a:gd name="connsiteY21" fmla="*/ 1271280 h 8569928"/>
              <a:gd name="connsiteX22" fmla="*/ 5447490 w 11378178"/>
              <a:gd name="connsiteY22" fmla="*/ 581501 h 8569928"/>
              <a:gd name="connsiteX23" fmla="*/ 6447854 w 11378178"/>
              <a:gd name="connsiteY23" fmla="*/ 998999 h 8569928"/>
              <a:gd name="connsiteX24" fmla="*/ 6775245 w 11378178"/>
              <a:gd name="connsiteY24" fmla="*/ 1135139 h 8569928"/>
              <a:gd name="connsiteX25" fmla="*/ 7148109 w 11378178"/>
              <a:gd name="connsiteY25" fmla="*/ 953618 h 8569928"/>
              <a:gd name="connsiteX26" fmla="*/ 9103366 w 11378178"/>
              <a:gd name="connsiteY26" fmla="*/ 635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9103366" y="635"/>
                </a:moveTo>
                <a:cubicBezTo>
                  <a:pt x="10331085" y="36939"/>
                  <a:pt x="11331449" y="1035303"/>
                  <a:pt x="11376920" y="2260567"/>
                </a:cubicBezTo>
                <a:cubicBezTo>
                  <a:pt x="11404203" y="3104637"/>
                  <a:pt x="10985869" y="3857948"/>
                  <a:pt x="10331085" y="4293598"/>
                </a:cubicBezTo>
                <a:cubicBezTo>
                  <a:pt x="9794526" y="4647563"/>
                  <a:pt x="9467134" y="5255657"/>
                  <a:pt x="9448946" y="5909131"/>
                </a:cubicBezTo>
                <a:cubicBezTo>
                  <a:pt x="9448946" y="5918207"/>
                  <a:pt x="9448946" y="5927283"/>
                  <a:pt x="9448946" y="5936359"/>
                </a:cubicBezTo>
                <a:cubicBezTo>
                  <a:pt x="9385286" y="7370372"/>
                  <a:pt x="8212132" y="8523028"/>
                  <a:pt x="6784339" y="8568408"/>
                </a:cubicBezTo>
                <a:cubicBezTo>
                  <a:pt x="6229593" y="8586560"/>
                  <a:pt x="5711222" y="8441344"/>
                  <a:pt x="5265605" y="8178139"/>
                </a:cubicBezTo>
                <a:cubicBezTo>
                  <a:pt x="4756329" y="7869553"/>
                  <a:pt x="4119733" y="7796945"/>
                  <a:pt x="3546798" y="8005694"/>
                </a:cubicBezTo>
                <a:cubicBezTo>
                  <a:pt x="3264877" y="8105531"/>
                  <a:pt x="2955673" y="8159987"/>
                  <a:pt x="2628281" y="8159987"/>
                </a:cubicBezTo>
                <a:cubicBezTo>
                  <a:pt x="1173206" y="8141835"/>
                  <a:pt x="-9042" y="6934723"/>
                  <a:pt x="52" y="5482558"/>
                </a:cubicBezTo>
                <a:cubicBezTo>
                  <a:pt x="9147" y="4466042"/>
                  <a:pt x="591177" y="3594743"/>
                  <a:pt x="1436939" y="3150018"/>
                </a:cubicBezTo>
                <a:cubicBezTo>
                  <a:pt x="1582447" y="3077409"/>
                  <a:pt x="1673389" y="2923117"/>
                  <a:pt x="1664295" y="2759748"/>
                </a:cubicBezTo>
                <a:cubicBezTo>
                  <a:pt x="1655200" y="2623608"/>
                  <a:pt x="1582447" y="2505619"/>
                  <a:pt x="1473316" y="2433011"/>
                </a:cubicBezTo>
                <a:cubicBezTo>
                  <a:pt x="1200489" y="2251491"/>
                  <a:pt x="1036793" y="1942905"/>
                  <a:pt x="1073170" y="1588940"/>
                </a:cubicBezTo>
                <a:cubicBezTo>
                  <a:pt x="1118641" y="1171443"/>
                  <a:pt x="1455127" y="835630"/>
                  <a:pt x="1873462" y="799326"/>
                </a:cubicBezTo>
                <a:cubicBezTo>
                  <a:pt x="2264513" y="753945"/>
                  <a:pt x="2610093" y="971770"/>
                  <a:pt x="2773789" y="1298507"/>
                </a:cubicBezTo>
                <a:cubicBezTo>
                  <a:pt x="2801072" y="1343887"/>
                  <a:pt x="2846543" y="1380192"/>
                  <a:pt x="2910202" y="1389268"/>
                </a:cubicBezTo>
                <a:cubicBezTo>
                  <a:pt x="2973862" y="1398344"/>
                  <a:pt x="3037521" y="1362040"/>
                  <a:pt x="3073898" y="1307583"/>
                </a:cubicBezTo>
                <a:cubicBezTo>
                  <a:pt x="3173935" y="1144215"/>
                  <a:pt x="3346725" y="1035303"/>
                  <a:pt x="3555892" y="1035303"/>
                </a:cubicBezTo>
                <a:cubicBezTo>
                  <a:pt x="3746870" y="1035303"/>
                  <a:pt x="3910566" y="1126063"/>
                  <a:pt x="4010603" y="1280356"/>
                </a:cubicBezTo>
                <a:cubicBezTo>
                  <a:pt x="4037885" y="1316660"/>
                  <a:pt x="4092451" y="1343887"/>
                  <a:pt x="4147016" y="1334811"/>
                </a:cubicBezTo>
                <a:cubicBezTo>
                  <a:pt x="4183393" y="1325736"/>
                  <a:pt x="4210676" y="1307583"/>
                  <a:pt x="4237959" y="1271280"/>
                </a:cubicBezTo>
                <a:cubicBezTo>
                  <a:pt x="4483502" y="862858"/>
                  <a:pt x="4929119" y="581501"/>
                  <a:pt x="5447490" y="581501"/>
                </a:cubicBezTo>
                <a:cubicBezTo>
                  <a:pt x="5838541" y="581501"/>
                  <a:pt x="6193216" y="744869"/>
                  <a:pt x="6447854" y="998999"/>
                </a:cubicBezTo>
                <a:cubicBezTo>
                  <a:pt x="6538796" y="1089759"/>
                  <a:pt x="6657021" y="1135139"/>
                  <a:pt x="6775245" y="1135139"/>
                </a:cubicBezTo>
                <a:cubicBezTo>
                  <a:pt x="6920753" y="1135139"/>
                  <a:pt x="7057167" y="1071606"/>
                  <a:pt x="7148109" y="953618"/>
                </a:cubicBezTo>
                <a:cubicBezTo>
                  <a:pt x="7584631" y="354600"/>
                  <a:pt x="8303075" y="-17517"/>
                  <a:pt x="9103366" y="6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C4CF0089-CD2A-F648-9A53-2A12456CAC55}"/>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7CC4300-B80D-7749-963D-F8A4D9D3EA9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04241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A80CA377-4C38-E549-97E6-0355B40918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74313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7">
            <a:extLst>
              <a:ext uri="{FF2B5EF4-FFF2-40B4-BE49-F238E27FC236}">
                <a16:creationId xmlns:a16="http://schemas.microsoft.com/office/drawing/2014/main" id="{5B020AAB-555D-9644-8170-D2D22604071C}"/>
              </a:ext>
            </a:extLst>
          </p:cNvPr>
          <p:cNvSpPr>
            <a:spLocks/>
          </p:cNvSpPr>
          <p:nvPr userDrawn="1"/>
        </p:nvSpPr>
        <p:spPr bwMode="auto">
          <a:xfrm flipH="1">
            <a:off x="9673307" y="1458194"/>
            <a:ext cx="14430403" cy="1087861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4B9013D-4499-FB47-BDAF-EA902E74A914}"/>
              </a:ext>
            </a:extLst>
          </p:cNvPr>
          <p:cNvSpPr>
            <a:spLocks noGrp="1"/>
          </p:cNvSpPr>
          <p:nvPr>
            <p:ph type="pic" sz="quarter" idx="33"/>
          </p:nvPr>
        </p:nvSpPr>
        <p:spPr>
          <a:xfrm>
            <a:off x="11574521" y="3137549"/>
            <a:ext cx="11378178" cy="8569928"/>
          </a:xfrm>
          <a:custGeom>
            <a:avLst/>
            <a:gdLst>
              <a:gd name="connsiteX0" fmla="*/ 4593838 w 11378178"/>
              <a:gd name="connsiteY0" fmla="*/ 1520 h 8569928"/>
              <a:gd name="connsiteX1" fmla="*/ 6112574 w 11378178"/>
              <a:gd name="connsiteY1" fmla="*/ 391790 h 8569928"/>
              <a:gd name="connsiteX2" fmla="*/ 7831380 w 11378178"/>
              <a:gd name="connsiteY2" fmla="*/ 564234 h 8569928"/>
              <a:gd name="connsiteX3" fmla="*/ 8749896 w 11378178"/>
              <a:gd name="connsiteY3" fmla="*/ 409941 h 8569928"/>
              <a:gd name="connsiteX4" fmla="*/ 11378126 w 11378178"/>
              <a:gd name="connsiteY4" fmla="*/ 3087371 h 8569928"/>
              <a:gd name="connsiteX5" fmla="*/ 9941240 w 11378178"/>
              <a:gd name="connsiteY5" fmla="*/ 5419910 h 8569928"/>
              <a:gd name="connsiteX6" fmla="*/ 9713884 w 11378178"/>
              <a:gd name="connsiteY6" fmla="*/ 5810180 h 8569928"/>
              <a:gd name="connsiteX7" fmla="*/ 9904862 w 11378178"/>
              <a:gd name="connsiteY7" fmla="*/ 6136917 h 8569928"/>
              <a:gd name="connsiteX8" fmla="*/ 10305008 w 11378178"/>
              <a:gd name="connsiteY8" fmla="*/ 6980988 h 8569928"/>
              <a:gd name="connsiteX9" fmla="*/ 9504716 w 11378178"/>
              <a:gd name="connsiteY9" fmla="*/ 7770602 h 8569928"/>
              <a:gd name="connsiteX10" fmla="*/ 8604390 w 11378178"/>
              <a:gd name="connsiteY10" fmla="*/ 7271421 h 8569928"/>
              <a:gd name="connsiteX11" fmla="*/ 8467976 w 11378178"/>
              <a:gd name="connsiteY11" fmla="*/ 7180660 h 8569928"/>
              <a:gd name="connsiteX12" fmla="*/ 8304280 w 11378178"/>
              <a:gd name="connsiteY12" fmla="*/ 7262344 h 8569928"/>
              <a:gd name="connsiteX13" fmla="*/ 7822286 w 11378178"/>
              <a:gd name="connsiteY13" fmla="*/ 7534626 h 8569928"/>
              <a:gd name="connsiteX14" fmla="*/ 7367576 w 11378178"/>
              <a:gd name="connsiteY14" fmla="*/ 7289573 h 8569928"/>
              <a:gd name="connsiteX15" fmla="*/ 7231162 w 11378178"/>
              <a:gd name="connsiteY15" fmla="*/ 7235116 h 8569928"/>
              <a:gd name="connsiteX16" fmla="*/ 7140220 w 11378178"/>
              <a:gd name="connsiteY16" fmla="*/ 7298649 h 8569928"/>
              <a:gd name="connsiteX17" fmla="*/ 5930688 w 11378178"/>
              <a:gd name="connsiteY17" fmla="*/ 7988427 h 8569928"/>
              <a:gd name="connsiteX18" fmla="*/ 4930324 w 11378178"/>
              <a:gd name="connsiteY18" fmla="*/ 7570930 h 8569928"/>
              <a:gd name="connsiteX19" fmla="*/ 4602932 w 11378178"/>
              <a:gd name="connsiteY19" fmla="*/ 7434789 h 8569928"/>
              <a:gd name="connsiteX20" fmla="*/ 4230070 w 11378178"/>
              <a:gd name="connsiteY20" fmla="*/ 7616310 h 8569928"/>
              <a:gd name="connsiteX21" fmla="*/ 2274812 w 11378178"/>
              <a:gd name="connsiteY21" fmla="*/ 8569293 h 8569928"/>
              <a:gd name="connsiteX22" fmla="*/ 1258 w 11378178"/>
              <a:gd name="connsiteY22" fmla="*/ 6309361 h 8569928"/>
              <a:gd name="connsiteX23" fmla="*/ 1047093 w 11378178"/>
              <a:gd name="connsiteY23" fmla="*/ 4276331 h 8569928"/>
              <a:gd name="connsiteX24" fmla="*/ 1929232 w 11378178"/>
              <a:gd name="connsiteY24" fmla="*/ 2660797 h 8569928"/>
              <a:gd name="connsiteX25" fmla="*/ 1929232 w 11378178"/>
              <a:gd name="connsiteY25" fmla="*/ 2633569 h 8569928"/>
              <a:gd name="connsiteX26" fmla="*/ 4593838 w 11378178"/>
              <a:gd name="connsiteY26" fmla="*/ 1520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4593838" y="1520"/>
                </a:moveTo>
                <a:cubicBezTo>
                  <a:pt x="5148586" y="-16632"/>
                  <a:pt x="5666956" y="128584"/>
                  <a:pt x="6112574" y="391790"/>
                </a:cubicBezTo>
                <a:cubicBezTo>
                  <a:pt x="6621850" y="700375"/>
                  <a:pt x="7258444" y="772983"/>
                  <a:pt x="7831380" y="564234"/>
                </a:cubicBezTo>
                <a:cubicBezTo>
                  <a:pt x="8113302" y="464398"/>
                  <a:pt x="8422504" y="409941"/>
                  <a:pt x="8749896" y="409941"/>
                </a:cubicBezTo>
                <a:cubicBezTo>
                  <a:pt x="10204972" y="428094"/>
                  <a:pt x="11387220" y="1635205"/>
                  <a:pt x="11378126" y="3087371"/>
                </a:cubicBezTo>
                <a:cubicBezTo>
                  <a:pt x="11369032" y="4103886"/>
                  <a:pt x="10787002" y="4975185"/>
                  <a:pt x="9941240" y="5419910"/>
                </a:cubicBezTo>
                <a:cubicBezTo>
                  <a:pt x="9795732" y="5492518"/>
                  <a:pt x="9704790" y="5646811"/>
                  <a:pt x="9713884" y="5810180"/>
                </a:cubicBezTo>
                <a:cubicBezTo>
                  <a:pt x="9722978" y="5946320"/>
                  <a:pt x="9795732" y="6064308"/>
                  <a:pt x="9904862" y="6136917"/>
                </a:cubicBezTo>
                <a:cubicBezTo>
                  <a:pt x="10177688" y="6318437"/>
                  <a:pt x="10341384" y="6627022"/>
                  <a:pt x="10305008" y="6980988"/>
                </a:cubicBezTo>
                <a:cubicBezTo>
                  <a:pt x="10259536" y="7398485"/>
                  <a:pt x="9923050" y="7734298"/>
                  <a:pt x="9504716" y="7770602"/>
                </a:cubicBezTo>
                <a:cubicBezTo>
                  <a:pt x="9113666" y="7815982"/>
                  <a:pt x="8768086" y="7598158"/>
                  <a:pt x="8604390" y="7271421"/>
                </a:cubicBezTo>
                <a:cubicBezTo>
                  <a:pt x="8577106" y="7226040"/>
                  <a:pt x="8531636" y="7189736"/>
                  <a:pt x="8467976" y="7180660"/>
                </a:cubicBezTo>
                <a:cubicBezTo>
                  <a:pt x="8404316" y="7171584"/>
                  <a:pt x="8340656" y="7207888"/>
                  <a:pt x="8304280" y="7262344"/>
                </a:cubicBezTo>
                <a:cubicBezTo>
                  <a:pt x="8204244" y="7425713"/>
                  <a:pt x="8031454" y="7534626"/>
                  <a:pt x="7822286" y="7534626"/>
                </a:cubicBezTo>
                <a:cubicBezTo>
                  <a:pt x="7631308" y="7534626"/>
                  <a:pt x="7467612" y="7443865"/>
                  <a:pt x="7367576" y="7289573"/>
                </a:cubicBezTo>
                <a:cubicBezTo>
                  <a:pt x="7340292" y="7253268"/>
                  <a:pt x="7285728" y="7226040"/>
                  <a:pt x="7231162" y="7235116"/>
                </a:cubicBezTo>
                <a:cubicBezTo>
                  <a:pt x="7194786" y="7244192"/>
                  <a:pt x="7167502" y="7262344"/>
                  <a:pt x="7140220" y="7298649"/>
                </a:cubicBezTo>
                <a:cubicBezTo>
                  <a:pt x="6894676" y="7707070"/>
                  <a:pt x="6449058" y="7988427"/>
                  <a:pt x="5930688" y="7988427"/>
                </a:cubicBezTo>
                <a:cubicBezTo>
                  <a:pt x="5539638" y="7988427"/>
                  <a:pt x="5184962" y="7825058"/>
                  <a:pt x="4930324" y="7570930"/>
                </a:cubicBezTo>
                <a:cubicBezTo>
                  <a:pt x="4839382" y="7480169"/>
                  <a:pt x="4721158" y="7434789"/>
                  <a:pt x="4602932" y="7434789"/>
                </a:cubicBezTo>
                <a:cubicBezTo>
                  <a:pt x="4457425" y="7434789"/>
                  <a:pt x="4321012" y="7498321"/>
                  <a:pt x="4230070" y="7616310"/>
                </a:cubicBezTo>
                <a:cubicBezTo>
                  <a:pt x="3793547" y="8215328"/>
                  <a:pt x="3075104" y="8587445"/>
                  <a:pt x="2274812" y="8569293"/>
                </a:cubicBezTo>
                <a:cubicBezTo>
                  <a:pt x="1047093" y="8532989"/>
                  <a:pt x="46729" y="7534626"/>
                  <a:pt x="1258" y="6309361"/>
                </a:cubicBezTo>
                <a:cubicBezTo>
                  <a:pt x="-26025" y="5465291"/>
                  <a:pt x="392309" y="4711980"/>
                  <a:pt x="1047093" y="4276331"/>
                </a:cubicBezTo>
                <a:cubicBezTo>
                  <a:pt x="1583652" y="3922366"/>
                  <a:pt x="1911044" y="3314271"/>
                  <a:pt x="1929232" y="2660797"/>
                </a:cubicBezTo>
                <a:cubicBezTo>
                  <a:pt x="1929232" y="2651721"/>
                  <a:pt x="1929232" y="2642645"/>
                  <a:pt x="1929232" y="2633569"/>
                </a:cubicBezTo>
                <a:cubicBezTo>
                  <a:pt x="1992892" y="1199556"/>
                  <a:pt x="3166046" y="46900"/>
                  <a:pt x="4593838" y="152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3D1DE53F-08DB-5D40-8856-9D1974D11A9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2CB3007-3CCE-9C4F-8944-53C37414DE4C}"/>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987729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Полилиния 6">
            <a:extLst>
              <a:ext uri="{FF2B5EF4-FFF2-40B4-BE49-F238E27FC236}">
                <a16:creationId xmlns:a16="http://schemas.microsoft.com/office/drawing/2014/main" id="{CB474167-1D7C-AE46-81F8-99F97C331748}"/>
              </a:ext>
            </a:extLst>
          </p:cNvPr>
          <p:cNvSpPr>
            <a:spLocks/>
          </p:cNvSpPr>
          <p:nvPr userDrawn="1"/>
        </p:nvSpPr>
        <p:spPr bwMode="auto">
          <a:xfrm>
            <a:off x="1320379" y="1458194"/>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077A601D-1D2E-6347-8CF8-2727DE220D26}"/>
              </a:ext>
            </a:extLst>
          </p:cNvPr>
          <p:cNvSpPr>
            <a:spLocks noGrp="1"/>
          </p:cNvSpPr>
          <p:nvPr>
            <p:ph type="pic" sz="quarter" idx="33"/>
          </p:nvPr>
        </p:nvSpPr>
        <p:spPr>
          <a:xfrm>
            <a:off x="1835866" y="2163622"/>
            <a:ext cx="9515125" cy="9532991"/>
          </a:xfrm>
          <a:custGeom>
            <a:avLst/>
            <a:gdLst>
              <a:gd name="connsiteX0" fmla="*/ 6761941 w 9515125"/>
              <a:gd name="connsiteY0" fmla="*/ 330 h 9532991"/>
              <a:gd name="connsiteX1" fmla="*/ 8845561 w 9515125"/>
              <a:gd name="connsiteY1" fmla="*/ 1151004 h 9532991"/>
              <a:gd name="connsiteX2" fmla="*/ 9069898 w 9515125"/>
              <a:gd name="connsiteY2" fmla="*/ 3489738 h 9532991"/>
              <a:gd name="connsiteX3" fmla="*/ 9159924 w 9515125"/>
              <a:gd name="connsiteY3" fmla="*/ 5258959 h 9532991"/>
              <a:gd name="connsiteX4" fmla="*/ 9107666 w 9515125"/>
              <a:gd name="connsiteY4" fmla="*/ 8124898 h 9532991"/>
              <a:gd name="connsiteX5" fmla="*/ 5267316 w 9515125"/>
              <a:gd name="connsiteY5" fmla="*/ 9193642 h 9532991"/>
              <a:gd name="connsiteX6" fmla="*/ 5232582 w 9515125"/>
              <a:gd name="connsiteY6" fmla="*/ 9173589 h 9532991"/>
              <a:gd name="connsiteX7" fmla="*/ 3224539 w 9515125"/>
              <a:gd name="connsiteY7" fmla="*/ 9202392 h 9532991"/>
              <a:gd name="connsiteX8" fmla="*/ 1490348 w 9515125"/>
              <a:gd name="connsiteY8" fmla="*/ 9398587 h 9532991"/>
              <a:gd name="connsiteX9" fmla="*/ 88076 w 9515125"/>
              <a:gd name="connsiteY9" fmla="*/ 6741786 h 9532991"/>
              <a:gd name="connsiteX10" fmla="*/ 1099267 w 9515125"/>
              <a:gd name="connsiteY10" fmla="*/ 5487682 h 9532991"/>
              <a:gd name="connsiteX11" fmla="*/ 1775316 w 9515125"/>
              <a:gd name="connsiteY11" fmla="*/ 4541332 h 9532991"/>
              <a:gd name="connsiteX12" fmla="*/ 2077422 w 9515125"/>
              <a:gd name="connsiteY12" fmla="*/ 3713253 h 9532991"/>
              <a:gd name="connsiteX13" fmla="*/ 3488205 w 9515125"/>
              <a:gd name="connsiteY13" fmla="*/ 2569182 h 9532991"/>
              <a:gd name="connsiteX14" fmla="*/ 4315991 w 9515125"/>
              <a:gd name="connsiteY14" fmla="*/ 1729003 h 9532991"/>
              <a:gd name="connsiteX15" fmla="*/ 5334478 w 9515125"/>
              <a:gd name="connsiteY15" fmla="*/ 414134 h 9532991"/>
              <a:gd name="connsiteX16" fmla="*/ 6761941 w 9515125"/>
              <a:gd name="connsiteY16" fmla="*/ 330 h 95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1">
                <a:moveTo>
                  <a:pt x="6761941" y="330"/>
                </a:moveTo>
                <a:cubicBezTo>
                  <a:pt x="7577465" y="13489"/>
                  <a:pt x="8371048" y="418726"/>
                  <a:pt x="8845561" y="1151004"/>
                </a:cubicBezTo>
                <a:cubicBezTo>
                  <a:pt x="9319521" y="1870201"/>
                  <a:pt x="9370563" y="2744369"/>
                  <a:pt x="9069898" y="3489738"/>
                </a:cubicBezTo>
                <a:cubicBezTo>
                  <a:pt x="8840838" y="4062953"/>
                  <a:pt x="8862212" y="4715779"/>
                  <a:pt x="9159924" y="5258959"/>
                </a:cubicBezTo>
                <a:cubicBezTo>
                  <a:pt x="9632095" y="6125641"/>
                  <a:pt x="9652120" y="7213962"/>
                  <a:pt x="9107666" y="8124898"/>
                </a:cubicBezTo>
                <a:cubicBezTo>
                  <a:pt x="8326067" y="9446581"/>
                  <a:pt x="6618269" y="9917921"/>
                  <a:pt x="5267316" y="9193642"/>
                </a:cubicBezTo>
                <a:cubicBezTo>
                  <a:pt x="5253422" y="9185621"/>
                  <a:pt x="5246476" y="9181610"/>
                  <a:pt x="5232582" y="9173589"/>
                </a:cubicBezTo>
                <a:cubicBezTo>
                  <a:pt x="4610298" y="8823595"/>
                  <a:pt x="3843711" y="8835844"/>
                  <a:pt x="3224539" y="9202392"/>
                </a:cubicBezTo>
                <a:cubicBezTo>
                  <a:pt x="2721232" y="9496599"/>
                  <a:pt x="2093581" y="9589062"/>
                  <a:pt x="1490348" y="9398587"/>
                </a:cubicBezTo>
                <a:cubicBezTo>
                  <a:pt x="386249" y="9048890"/>
                  <a:pt x="-242469" y="7859765"/>
                  <a:pt x="88076" y="6741786"/>
                </a:cubicBezTo>
                <a:cubicBezTo>
                  <a:pt x="258285" y="6190288"/>
                  <a:pt x="627024" y="5744129"/>
                  <a:pt x="1099267" y="5487682"/>
                </a:cubicBezTo>
                <a:cubicBezTo>
                  <a:pt x="1456737" y="5285642"/>
                  <a:pt x="1704499" y="4936720"/>
                  <a:pt x="1775316" y="4541332"/>
                </a:cubicBezTo>
                <a:cubicBezTo>
                  <a:pt x="1828614" y="4256502"/>
                  <a:pt x="1924685" y="3977802"/>
                  <a:pt x="2077422" y="3713253"/>
                </a:cubicBezTo>
                <a:cubicBezTo>
                  <a:pt x="2402993" y="3149347"/>
                  <a:pt x="2915779" y="2758506"/>
                  <a:pt x="3488205" y="2569182"/>
                </a:cubicBezTo>
                <a:cubicBezTo>
                  <a:pt x="3881152" y="2434037"/>
                  <a:pt x="4180470" y="2124163"/>
                  <a:pt x="4315991" y="1729003"/>
                </a:cubicBezTo>
                <a:cubicBezTo>
                  <a:pt x="4494983" y="1210423"/>
                  <a:pt x="4839954" y="741259"/>
                  <a:pt x="5334478" y="414134"/>
                </a:cubicBezTo>
                <a:cubicBezTo>
                  <a:pt x="5775412" y="125686"/>
                  <a:pt x="6272626" y="-7566"/>
                  <a:pt x="6761941" y="33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81517BC-9491-6C4C-9AAF-EE4471F6053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8A14E1-E5F8-1147-B597-B73E07D423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688641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Полилиния 4">
            <a:extLst>
              <a:ext uri="{FF2B5EF4-FFF2-40B4-BE49-F238E27FC236}">
                <a16:creationId xmlns:a16="http://schemas.microsoft.com/office/drawing/2014/main" id="{423FAF3B-8D40-FD46-8D34-22255FEC8A6F}"/>
              </a:ext>
            </a:extLst>
          </p:cNvPr>
          <p:cNvSpPr>
            <a:spLocks/>
          </p:cNvSpPr>
          <p:nvPr userDrawn="1"/>
        </p:nvSpPr>
        <p:spPr bwMode="auto">
          <a:xfrm rot="588626">
            <a:off x="12128912" y="1319572"/>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E8089984-DF5E-7847-9674-CE9AE134A7E8}"/>
              </a:ext>
            </a:extLst>
          </p:cNvPr>
          <p:cNvSpPr>
            <a:spLocks noGrp="1"/>
          </p:cNvSpPr>
          <p:nvPr>
            <p:ph type="pic" sz="quarter" idx="33"/>
          </p:nvPr>
        </p:nvSpPr>
        <p:spPr>
          <a:xfrm>
            <a:off x="12911571" y="2007320"/>
            <a:ext cx="9515125" cy="9532992"/>
          </a:xfrm>
          <a:custGeom>
            <a:avLst/>
            <a:gdLst>
              <a:gd name="connsiteX0" fmla="*/ 2915902 w 9515125"/>
              <a:gd name="connsiteY0" fmla="*/ 79 h 9532992"/>
              <a:gd name="connsiteX1" fmla="*/ 4247809 w 9515125"/>
              <a:gd name="connsiteY1" fmla="*/ 339349 h 9532992"/>
              <a:gd name="connsiteX2" fmla="*/ 4282545 w 9515125"/>
              <a:gd name="connsiteY2" fmla="*/ 359402 h 9532992"/>
              <a:gd name="connsiteX3" fmla="*/ 6290585 w 9515125"/>
              <a:gd name="connsiteY3" fmla="*/ 330599 h 9532992"/>
              <a:gd name="connsiteX4" fmla="*/ 8024777 w 9515125"/>
              <a:gd name="connsiteY4" fmla="*/ 134404 h 9532992"/>
              <a:gd name="connsiteX5" fmla="*/ 9427049 w 9515125"/>
              <a:gd name="connsiteY5" fmla="*/ 2791205 h 9532992"/>
              <a:gd name="connsiteX6" fmla="*/ 8415857 w 9515125"/>
              <a:gd name="connsiteY6" fmla="*/ 4045310 h 9532992"/>
              <a:gd name="connsiteX7" fmla="*/ 7739809 w 9515125"/>
              <a:gd name="connsiteY7" fmla="*/ 4991659 h 9532992"/>
              <a:gd name="connsiteX8" fmla="*/ 7437705 w 9515125"/>
              <a:gd name="connsiteY8" fmla="*/ 5819738 h 9532992"/>
              <a:gd name="connsiteX9" fmla="*/ 6026921 w 9515125"/>
              <a:gd name="connsiteY9" fmla="*/ 6963809 h 9532992"/>
              <a:gd name="connsiteX10" fmla="*/ 5199133 w 9515125"/>
              <a:gd name="connsiteY10" fmla="*/ 7803988 h 9532992"/>
              <a:gd name="connsiteX11" fmla="*/ 4180649 w 9515125"/>
              <a:gd name="connsiteY11" fmla="*/ 9118857 h 9532992"/>
              <a:gd name="connsiteX12" fmla="*/ 669564 w 9515125"/>
              <a:gd name="connsiteY12" fmla="*/ 8381987 h 9532992"/>
              <a:gd name="connsiteX13" fmla="*/ 445227 w 9515125"/>
              <a:gd name="connsiteY13" fmla="*/ 6043253 h 9532992"/>
              <a:gd name="connsiteX14" fmla="*/ 355201 w 9515125"/>
              <a:gd name="connsiteY14" fmla="*/ 4274032 h 9532992"/>
              <a:gd name="connsiteX15" fmla="*/ 407459 w 9515125"/>
              <a:gd name="connsiteY15" fmla="*/ 1408093 h 9532992"/>
              <a:gd name="connsiteX16" fmla="*/ 2915902 w 9515125"/>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2">
                <a:moveTo>
                  <a:pt x="2915902" y="79"/>
                </a:moveTo>
                <a:cubicBezTo>
                  <a:pt x="3368616" y="3434"/>
                  <a:pt x="3825637" y="113012"/>
                  <a:pt x="4247809" y="339349"/>
                </a:cubicBezTo>
                <a:cubicBezTo>
                  <a:pt x="4261701" y="347370"/>
                  <a:pt x="4268649" y="351381"/>
                  <a:pt x="4282545" y="359402"/>
                </a:cubicBezTo>
                <a:cubicBezTo>
                  <a:pt x="4904825" y="709396"/>
                  <a:pt x="5671413" y="697147"/>
                  <a:pt x="6290585" y="330599"/>
                </a:cubicBezTo>
                <a:cubicBezTo>
                  <a:pt x="6793893" y="36392"/>
                  <a:pt x="7421545" y="-56071"/>
                  <a:pt x="8024777" y="134404"/>
                </a:cubicBezTo>
                <a:cubicBezTo>
                  <a:pt x="9128877" y="484102"/>
                  <a:pt x="9757593" y="1673226"/>
                  <a:pt x="9427049" y="2791205"/>
                </a:cubicBezTo>
                <a:cubicBezTo>
                  <a:pt x="9256841" y="3342703"/>
                  <a:pt x="8888101" y="3788862"/>
                  <a:pt x="8415857" y="4045310"/>
                </a:cubicBezTo>
                <a:cubicBezTo>
                  <a:pt x="8058389" y="4247350"/>
                  <a:pt x="7810625" y="4596272"/>
                  <a:pt x="7739809" y="4991659"/>
                </a:cubicBezTo>
                <a:cubicBezTo>
                  <a:pt x="7686513" y="5276489"/>
                  <a:pt x="7590441" y="5555189"/>
                  <a:pt x="7437705" y="5819738"/>
                </a:cubicBezTo>
                <a:cubicBezTo>
                  <a:pt x="7112133" y="6383644"/>
                  <a:pt x="6599345" y="6774484"/>
                  <a:pt x="6026921" y="6963809"/>
                </a:cubicBezTo>
                <a:cubicBezTo>
                  <a:pt x="5633973" y="7098954"/>
                  <a:pt x="5334657" y="7408828"/>
                  <a:pt x="5199133" y="7803988"/>
                </a:cubicBezTo>
                <a:cubicBezTo>
                  <a:pt x="5020141" y="8322568"/>
                  <a:pt x="4675173" y="8791732"/>
                  <a:pt x="4180649"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AC1DB5E8-D724-1349-981B-4B570B7FD8B3}"/>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B96D9C16-888F-C74E-8AFB-06205EEA0413}"/>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32818446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14:bounceEnd="50000">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8"/>
                            </p:tgtEl>
                            <p:attrNameLst>
                              <p:attrName>style.visibility</p:attrName>
                            </p:attrNameLst>
                          </p:cBhvr>
                          <p:to>
                            <p:strVal val="visible"/>
                          </p:to>
                        </p:set>
                        <p:anim calcmode="lin" valueType="num" p14:bounceEnd="50000">
                          <p:cBhvr additive="base">
                            <p:cTn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6">
            <a:extLst>
              <a:ext uri="{FF2B5EF4-FFF2-40B4-BE49-F238E27FC236}">
                <a16:creationId xmlns:a16="http://schemas.microsoft.com/office/drawing/2014/main" id="{F76B4BA0-6A98-4D42-A62E-B74C7EF39453}"/>
              </a:ext>
            </a:extLst>
          </p:cNvPr>
          <p:cNvSpPr>
            <a:spLocks/>
          </p:cNvSpPr>
          <p:nvPr userDrawn="1"/>
        </p:nvSpPr>
        <p:spPr bwMode="auto">
          <a:xfrm>
            <a:off x="168251" y="124217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CFBFAB7E-CCCB-9B4C-B80A-8D6C18139EA0}"/>
              </a:ext>
            </a:extLst>
          </p:cNvPr>
          <p:cNvSpPr>
            <a:spLocks noGrp="1"/>
          </p:cNvSpPr>
          <p:nvPr>
            <p:ph type="pic" sz="quarter" idx="33"/>
          </p:nvPr>
        </p:nvSpPr>
        <p:spPr>
          <a:xfrm>
            <a:off x="1727928" y="1921295"/>
            <a:ext cx="10821681" cy="10650267"/>
          </a:xfrm>
          <a:custGeom>
            <a:avLst/>
            <a:gdLst>
              <a:gd name="connsiteX0" fmla="*/ 8698978 w 10821681"/>
              <a:gd name="connsiteY0" fmla="*/ 1007 h 10650267"/>
              <a:gd name="connsiteX1" fmla="*/ 9032550 w 10821681"/>
              <a:gd name="connsiteY1" fmla="*/ 48314 h 10650267"/>
              <a:gd name="connsiteX2" fmla="*/ 10203942 w 10821681"/>
              <a:gd name="connsiteY2" fmla="*/ 1750280 h 10650267"/>
              <a:gd name="connsiteX3" fmla="*/ 9831226 w 10821681"/>
              <a:gd name="connsiteY3" fmla="*/ 2601262 h 10650267"/>
              <a:gd name="connsiteX4" fmla="*/ 9660842 w 10821681"/>
              <a:gd name="connsiteY4" fmla="*/ 3484157 h 10650267"/>
              <a:gd name="connsiteX5" fmla="*/ 10140048 w 10821681"/>
              <a:gd name="connsiteY5" fmla="*/ 4026658 h 10650267"/>
              <a:gd name="connsiteX6" fmla="*/ 10810936 w 10821681"/>
              <a:gd name="connsiteY6" fmla="*/ 4941465 h 10650267"/>
              <a:gd name="connsiteX7" fmla="*/ 10044207 w 10821681"/>
              <a:gd name="connsiteY7" fmla="*/ 6217939 h 10650267"/>
              <a:gd name="connsiteX8" fmla="*/ 8670484 w 10821681"/>
              <a:gd name="connsiteY8" fmla="*/ 5813722 h 10650267"/>
              <a:gd name="connsiteX9" fmla="*/ 8500099 w 10821681"/>
              <a:gd name="connsiteY9" fmla="*/ 5760536 h 10650267"/>
              <a:gd name="connsiteX10" fmla="*/ 8404258 w 10821681"/>
              <a:gd name="connsiteY10" fmla="*/ 5909458 h 10650267"/>
              <a:gd name="connsiteX11" fmla="*/ 5699408 w 10821681"/>
              <a:gd name="connsiteY11" fmla="*/ 10377117 h 10650267"/>
              <a:gd name="connsiteX12" fmla="*/ 279058 w 10821681"/>
              <a:gd name="connsiteY12" fmla="*/ 7951817 h 10650267"/>
              <a:gd name="connsiteX13" fmla="*/ 2707034 w 10821681"/>
              <a:gd name="connsiteY13" fmla="*/ 2505527 h 10650267"/>
              <a:gd name="connsiteX14" fmla="*/ 5720706 w 10821681"/>
              <a:gd name="connsiteY14" fmla="*/ 2494889 h 10650267"/>
              <a:gd name="connsiteX15" fmla="*/ 6263806 w 10821681"/>
              <a:gd name="connsiteY15" fmla="*/ 2548076 h 10650267"/>
              <a:gd name="connsiteX16" fmla="*/ 7062482 w 10821681"/>
              <a:gd name="connsiteY16" fmla="*/ 1580083 h 10650267"/>
              <a:gd name="connsiteX17" fmla="*/ 7083780 w 10821681"/>
              <a:gd name="connsiteY17" fmla="*/ 1292876 h 10650267"/>
              <a:gd name="connsiteX18" fmla="*/ 8698978 w 10821681"/>
              <a:gd name="connsiteY18" fmla="*/ 1007 h 1065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1" h="10650267">
                <a:moveTo>
                  <a:pt x="8698978" y="1007"/>
                </a:moveTo>
                <a:cubicBezTo>
                  <a:pt x="8809087" y="4934"/>
                  <a:pt x="8920735" y="20391"/>
                  <a:pt x="9032550" y="48314"/>
                </a:cubicBezTo>
                <a:cubicBezTo>
                  <a:pt x="9788630" y="239785"/>
                  <a:pt x="10289134" y="973758"/>
                  <a:pt x="10203942" y="1750280"/>
                </a:cubicBezTo>
                <a:cubicBezTo>
                  <a:pt x="10161346" y="2080035"/>
                  <a:pt x="10033558" y="2367242"/>
                  <a:pt x="9831226" y="2601262"/>
                </a:cubicBezTo>
                <a:cubicBezTo>
                  <a:pt x="9628895" y="2845920"/>
                  <a:pt x="9554352" y="3175675"/>
                  <a:pt x="9660842" y="3484157"/>
                </a:cubicBezTo>
                <a:cubicBezTo>
                  <a:pt x="9735385" y="3728814"/>
                  <a:pt x="9905769" y="3920285"/>
                  <a:pt x="10140048" y="4026658"/>
                </a:cubicBezTo>
                <a:cubicBezTo>
                  <a:pt x="10480816" y="4196855"/>
                  <a:pt x="10747042" y="4526611"/>
                  <a:pt x="10810936" y="4941465"/>
                </a:cubicBezTo>
                <a:cubicBezTo>
                  <a:pt x="10885479" y="5494604"/>
                  <a:pt x="10566008" y="6026468"/>
                  <a:pt x="10044207" y="6217939"/>
                </a:cubicBezTo>
                <a:cubicBezTo>
                  <a:pt x="9522405" y="6409410"/>
                  <a:pt x="8968656" y="6217939"/>
                  <a:pt x="8670484" y="5813722"/>
                </a:cubicBezTo>
                <a:cubicBezTo>
                  <a:pt x="8627887" y="5760536"/>
                  <a:pt x="8563993" y="5739261"/>
                  <a:pt x="8500099" y="5760536"/>
                </a:cubicBezTo>
                <a:cubicBezTo>
                  <a:pt x="8436205" y="5781811"/>
                  <a:pt x="8393609" y="5845634"/>
                  <a:pt x="8404258" y="5909458"/>
                </a:cubicBezTo>
                <a:cubicBezTo>
                  <a:pt x="8638536" y="7802895"/>
                  <a:pt x="7562986" y="9685694"/>
                  <a:pt x="5699408" y="10377117"/>
                </a:cubicBezTo>
                <a:cubicBezTo>
                  <a:pt x="3527009" y="11196188"/>
                  <a:pt x="1109682" y="10111185"/>
                  <a:pt x="279058" y="7951817"/>
                </a:cubicBezTo>
                <a:cubicBezTo>
                  <a:pt x="-551565" y="5792448"/>
                  <a:pt x="534635" y="3335235"/>
                  <a:pt x="2707034" y="2505527"/>
                </a:cubicBezTo>
                <a:cubicBezTo>
                  <a:pt x="3718691" y="2111947"/>
                  <a:pt x="4783593" y="2143859"/>
                  <a:pt x="5720706" y="2494889"/>
                </a:cubicBezTo>
                <a:cubicBezTo>
                  <a:pt x="5891090" y="2558713"/>
                  <a:pt x="6082773" y="2579988"/>
                  <a:pt x="6263806" y="2548076"/>
                </a:cubicBezTo>
                <a:cubicBezTo>
                  <a:pt x="6721714" y="2452340"/>
                  <a:pt x="7062482" y="2048124"/>
                  <a:pt x="7062482" y="1580083"/>
                </a:cubicBezTo>
                <a:cubicBezTo>
                  <a:pt x="7062482" y="1484347"/>
                  <a:pt x="7073131" y="1388612"/>
                  <a:pt x="7083780" y="1292876"/>
                </a:cubicBezTo>
                <a:cubicBezTo>
                  <a:pt x="7232866" y="511036"/>
                  <a:pt x="7928214" y="-26479"/>
                  <a:pt x="8698978" y="100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74E063D-1A2C-974C-869F-71185B806393}"/>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22BA9850-B716-0443-8B5E-283B84EE81C4}"/>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52438353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6">
            <a:extLst>
              <a:ext uri="{FF2B5EF4-FFF2-40B4-BE49-F238E27FC236}">
                <a16:creationId xmlns:a16="http://schemas.microsoft.com/office/drawing/2014/main" id="{AD9E480E-D227-E94F-860C-E39BBF0EB705}"/>
              </a:ext>
            </a:extLst>
          </p:cNvPr>
          <p:cNvSpPr>
            <a:spLocks/>
          </p:cNvSpPr>
          <p:nvPr userDrawn="1"/>
        </p:nvSpPr>
        <p:spPr bwMode="auto">
          <a:xfrm rot="10800000">
            <a:off x="11689531" y="16205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5153815A-417C-704F-9CA2-F873CFF662C2}"/>
              </a:ext>
            </a:extLst>
          </p:cNvPr>
          <p:cNvSpPr>
            <a:spLocks noGrp="1"/>
          </p:cNvSpPr>
          <p:nvPr>
            <p:ph type="pic" sz="quarter" idx="33"/>
          </p:nvPr>
        </p:nvSpPr>
        <p:spPr>
          <a:xfrm>
            <a:off x="12113368" y="1572067"/>
            <a:ext cx="10821682" cy="10650266"/>
          </a:xfrm>
          <a:custGeom>
            <a:avLst/>
            <a:gdLst>
              <a:gd name="connsiteX0" fmla="*/ 6563899 w 10821682"/>
              <a:gd name="connsiteY0" fmla="*/ 288 h 10650266"/>
              <a:gd name="connsiteX1" fmla="*/ 10542623 w 10821682"/>
              <a:gd name="connsiteY1" fmla="*/ 2698449 h 10650266"/>
              <a:gd name="connsiteX2" fmla="*/ 8114647 w 10821682"/>
              <a:gd name="connsiteY2" fmla="*/ 8144739 h 10650266"/>
              <a:gd name="connsiteX3" fmla="*/ 5100975 w 10821682"/>
              <a:gd name="connsiteY3" fmla="*/ 8155376 h 10650266"/>
              <a:gd name="connsiteX4" fmla="*/ 4557875 w 10821682"/>
              <a:gd name="connsiteY4" fmla="*/ 8102190 h 10650266"/>
              <a:gd name="connsiteX5" fmla="*/ 3759199 w 10821682"/>
              <a:gd name="connsiteY5" fmla="*/ 9070183 h 10650266"/>
              <a:gd name="connsiteX6" fmla="*/ 3737901 w 10821682"/>
              <a:gd name="connsiteY6" fmla="*/ 9357390 h 10650266"/>
              <a:gd name="connsiteX7" fmla="*/ 1789131 w 10821682"/>
              <a:gd name="connsiteY7" fmla="*/ 10601952 h 10650266"/>
              <a:gd name="connsiteX8" fmla="*/ 617739 w 10821682"/>
              <a:gd name="connsiteY8" fmla="*/ 8899987 h 10650266"/>
              <a:gd name="connsiteX9" fmla="*/ 990455 w 10821682"/>
              <a:gd name="connsiteY9" fmla="*/ 8049004 h 10650266"/>
              <a:gd name="connsiteX10" fmla="*/ 1160839 w 10821682"/>
              <a:gd name="connsiteY10" fmla="*/ 7166109 h 10650266"/>
              <a:gd name="connsiteX11" fmla="*/ 681633 w 10821682"/>
              <a:gd name="connsiteY11" fmla="*/ 6623608 h 10650266"/>
              <a:gd name="connsiteX12" fmla="*/ 10745 w 10821682"/>
              <a:gd name="connsiteY12" fmla="*/ 5708801 h 10650266"/>
              <a:gd name="connsiteX13" fmla="*/ 777474 w 10821682"/>
              <a:gd name="connsiteY13" fmla="*/ 4432327 h 10650266"/>
              <a:gd name="connsiteX14" fmla="*/ 2151197 w 10821682"/>
              <a:gd name="connsiteY14" fmla="*/ 4836544 h 10650266"/>
              <a:gd name="connsiteX15" fmla="*/ 2321582 w 10821682"/>
              <a:gd name="connsiteY15" fmla="*/ 4889731 h 10650266"/>
              <a:gd name="connsiteX16" fmla="*/ 2417423 w 10821682"/>
              <a:gd name="connsiteY16" fmla="*/ 4740809 h 10650266"/>
              <a:gd name="connsiteX17" fmla="*/ 5122273 w 10821682"/>
              <a:gd name="connsiteY17" fmla="*/ 273149 h 10650266"/>
              <a:gd name="connsiteX18" fmla="*/ 6563899 w 10821682"/>
              <a:gd name="connsiteY18" fmla="*/ 288 h 1065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2" h="10650266">
                <a:moveTo>
                  <a:pt x="6563899" y="288"/>
                </a:moveTo>
                <a:cubicBezTo>
                  <a:pt x="8276327" y="-19823"/>
                  <a:pt x="9893699" y="1011443"/>
                  <a:pt x="10542623" y="2698449"/>
                </a:cubicBezTo>
                <a:cubicBezTo>
                  <a:pt x="11373247" y="4857819"/>
                  <a:pt x="10287047" y="7315031"/>
                  <a:pt x="8114647" y="8144739"/>
                </a:cubicBezTo>
                <a:cubicBezTo>
                  <a:pt x="7102991" y="8538319"/>
                  <a:pt x="6038089" y="8506407"/>
                  <a:pt x="5100975" y="8155376"/>
                </a:cubicBezTo>
                <a:cubicBezTo>
                  <a:pt x="4930591" y="8091553"/>
                  <a:pt x="4738909" y="8070278"/>
                  <a:pt x="4557875" y="8102190"/>
                </a:cubicBezTo>
                <a:cubicBezTo>
                  <a:pt x="4099967" y="8197926"/>
                  <a:pt x="3759199" y="8602142"/>
                  <a:pt x="3759199" y="9070183"/>
                </a:cubicBezTo>
                <a:cubicBezTo>
                  <a:pt x="3759199" y="9165919"/>
                  <a:pt x="3748550" y="9261654"/>
                  <a:pt x="3737901" y="9357390"/>
                </a:cubicBezTo>
                <a:cubicBezTo>
                  <a:pt x="3567517" y="10250922"/>
                  <a:pt x="2683648" y="10825335"/>
                  <a:pt x="1789131" y="10601952"/>
                </a:cubicBezTo>
                <a:cubicBezTo>
                  <a:pt x="1033051" y="10410481"/>
                  <a:pt x="532547" y="9676508"/>
                  <a:pt x="617739" y="8899987"/>
                </a:cubicBezTo>
                <a:cubicBezTo>
                  <a:pt x="660335" y="8570231"/>
                  <a:pt x="788123" y="8283024"/>
                  <a:pt x="990455" y="8049004"/>
                </a:cubicBezTo>
                <a:cubicBezTo>
                  <a:pt x="1192786" y="7804346"/>
                  <a:pt x="1267329" y="7474591"/>
                  <a:pt x="1160839" y="7166109"/>
                </a:cubicBezTo>
                <a:cubicBezTo>
                  <a:pt x="1086296" y="6921452"/>
                  <a:pt x="915912" y="6729981"/>
                  <a:pt x="681633" y="6623608"/>
                </a:cubicBezTo>
                <a:cubicBezTo>
                  <a:pt x="340865" y="6453411"/>
                  <a:pt x="74639" y="6123656"/>
                  <a:pt x="10745" y="5708801"/>
                </a:cubicBezTo>
                <a:cubicBezTo>
                  <a:pt x="-63798" y="5155663"/>
                  <a:pt x="255673" y="4623798"/>
                  <a:pt x="777474" y="4432327"/>
                </a:cubicBezTo>
                <a:cubicBezTo>
                  <a:pt x="1299276" y="4240856"/>
                  <a:pt x="1853025" y="4432327"/>
                  <a:pt x="2151197" y="4836544"/>
                </a:cubicBezTo>
                <a:cubicBezTo>
                  <a:pt x="2193794" y="4889731"/>
                  <a:pt x="2257688" y="4911005"/>
                  <a:pt x="2321582" y="4889731"/>
                </a:cubicBezTo>
                <a:cubicBezTo>
                  <a:pt x="2385476" y="4868456"/>
                  <a:pt x="2428072" y="4804632"/>
                  <a:pt x="2417423" y="4740809"/>
                </a:cubicBezTo>
                <a:cubicBezTo>
                  <a:pt x="2183145" y="2847371"/>
                  <a:pt x="3258695" y="964572"/>
                  <a:pt x="5122273" y="273149"/>
                </a:cubicBezTo>
                <a:cubicBezTo>
                  <a:pt x="5597485" y="93977"/>
                  <a:pt x="6084419" y="5918"/>
                  <a:pt x="6563899" y="28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7B4C2907-5F37-2146-88DB-A2B671AC6EC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312DCFE8-D8F1-B043-8CE5-F170DE8A62A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1625698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12">
            <a:extLst>
              <a:ext uri="{FF2B5EF4-FFF2-40B4-BE49-F238E27FC236}">
                <a16:creationId xmlns:a16="http://schemas.microsoft.com/office/drawing/2014/main" id="{0892CCA3-EE80-7F4D-A7ED-568B18A39954}"/>
              </a:ext>
            </a:extLst>
          </p:cNvPr>
          <p:cNvSpPr>
            <a:spLocks/>
          </p:cNvSpPr>
          <p:nvPr userDrawn="1"/>
        </p:nvSpPr>
        <p:spPr bwMode="auto">
          <a:xfrm rot="13093723">
            <a:off x="2030880" y="-572008"/>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10E6A116-7350-6A4E-864C-032673758CFB}"/>
              </a:ext>
            </a:extLst>
          </p:cNvPr>
          <p:cNvSpPr>
            <a:spLocks noGrp="1"/>
          </p:cNvSpPr>
          <p:nvPr>
            <p:ph type="pic" sz="quarter" idx="33"/>
          </p:nvPr>
        </p:nvSpPr>
        <p:spPr>
          <a:xfrm>
            <a:off x="1608411" y="1026146"/>
            <a:ext cx="11111999" cy="11456315"/>
          </a:xfrm>
          <a:custGeom>
            <a:avLst/>
            <a:gdLst>
              <a:gd name="connsiteX0" fmla="*/ 4089061 w 11111999"/>
              <a:gd name="connsiteY0" fmla="*/ 0 h 11456315"/>
              <a:gd name="connsiteX1" fmla="*/ 8178121 w 11111999"/>
              <a:gd name="connsiteY1" fmla="*/ 4087745 h 11456315"/>
              <a:gd name="connsiteX2" fmla="*/ 8178121 w 11111999"/>
              <a:gd name="connsiteY2" fmla="*/ 4097409 h 11456315"/>
              <a:gd name="connsiteX3" fmla="*/ 8642129 w 11111999"/>
              <a:gd name="connsiteY3" fmla="*/ 5938343 h 11456315"/>
              <a:gd name="connsiteX4" fmla="*/ 8651795 w 11111999"/>
              <a:gd name="connsiteY4" fmla="*/ 5948007 h 11456315"/>
              <a:gd name="connsiteX5" fmla="*/ 9550809 w 11111999"/>
              <a:gd name="connsiteY5" fmla="*/ 6740430 h 11456315"/>
              <a:gd name="connsiteX6" fmla="*/ 11111999 w 11111999"/>
              <a:gd name="connsiteY6" fmla="*/ 9016231 h 11456315"/>
              <a:gd name="connsiteX7" fmla="*/ 8671129 w 11111999"/>
              <a:gd name="connsiteY7" fmla="*/ 11456315 h 11456315"/>
              <a:gd name="connsiteX8" fmla="*/ 6307593 w 11111999"/>
              <a:gd name="connsiteY8" fmla="*/ 9625044 h 11456315"/>
              <a:gd name="connsiteX9" fmla="*/ 5572917 w 11111999"/>
              <a:gd name="connsiteY9" fmla="*/ 8523382 h 11456315"/>
              <a:gd name="connsiteX10" fmla="*/ 4379065 w 11111999"/>
              <a:gd name="connsiteY10" fmla="*/ 8165826 h 11456315"/>
              <a:gd name="connsiteX11" fmla="*/ 4089061 w 11111999"/>
              <a:gd name="connsiteY11" fmla="*/ 8175489 h 11456315"/>
              <a:gd name="connsiteX12" fmla="*/ 0 w 11111999"/>
              <a:gd name="connsiteY12" fmla="*/ 4087745 h 11456315"/>
              <a:gd name="connsiteX13" fmla="*/ 4089061 w 11111999"/>
              <a:gd name="connsiteY13" fmla="*/ 0 h 114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11999" h="11456315">
                <a:moveTo>
                  <a:pt x="4089061" y="0"/>
                </a:moveTo>
                <a:cubicBezTo>
                  <a:pt x="6346261" y="0"/>
                  <a:pt x="8178121" y="1831271"/>
                  <a:pt x="8178121" y="4087745"/>
                </a:cubicBezTo>
                <a:cubicBezTo>
                  <a:pt x="8178121" y="4092577"/>
                  <a:pt x="8178121" y="4092577"/>
                  <a:pt x="8178121" y="4097409"/>
                </a:cubicBezTo>
                <a:cubicBezTo>
                  <a:pt x="8173289" y="4740045"/>
                  <a:pt x="8332791" y="5373017"/>
                  <a:pt x="8642129" y="5938343"/>
                </a:cubicBezTo>
                <a:cubicBezTo>
                  <a:pt x="8642129" y="5938343"/>
                  <a:pt x="8642129" y="5938343"/>
                  <a:pt x="8651795" y="5948007"/>
                </a:cubicBezTo>
                <a:cubicBezTo>
                  <a:pt x="8849965" y="6310396"/>
                  <a:pt x="9168969" y="6590643"/>
                  <a:pt x="9550809" y="6740430"/>
                </a:cubicBezTo>
                <a:cubicBezTo>
                  <a:pt x="10464323" y="7093155"/>
                  <a:pt x="11111999" y="7977384"/>
                  <a:pt x="11111999" y="9016231"/>
                </a:cubicBezTo>
                <a:cubicBezTo>
                  <a:pt x="11111999" y="10364317"/>
                  <a:pt x="10019649" y="11456315"/>
                  <a:pt x="8671129" y="11456315"/>
                </a:cubicBezTo>
                <a:cubicBezTo>
                  <a:pt x="7535279" y="11456315"/>
                  <a:pt x="6578265" y="10678387"/>
                  <a:pt x="6307593" y="9625044"/>
                </a:cubicBezTo>
                <a:cubicBezTo>
                  <a:pt x="6191593" y="9185346"/>
                  <a:pt x="5935421" y="8798798"/>
                  <a:pt x="5572917" y="8523382"/>
                </a:cubicBezTo>
                <a:cubicBezTo>
                  <a:pt x="5229745" y="8262462"/>
                  <a:pt x="4804405" y="8132002"/>
                  <a:pt x="4379065" y="8165826"/>
                </a:cubicBezTo>
                <a:cubicBezTo>
                  <a:pt x="4282397" y="8170658"/>
                  <a:pt x="4185729" y="8175489"/>
                  <a:pt x="4089061" y="8175489"/>
                </a:cubicBezTo>
                <a:cubicBezTo>
                  <a:pt x="1831861" y="8175489"/>
                  <a:pt x="0" y="6344219"/>
                  <a:pt x="0" y="4087745"/>
                </a:cubicBezTo>
                <a:cubicBezTo>
                  <a:pt x="0" y="1831271"/>
                  <a:pt x="1831861" y="0"/>
                  <a:pt x="4089061" y="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8126E25A-357A-8B40-9EDA-85EDF968F23F}"/>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D4D4627-42C1-5E44-8EC8-0FD01EBAA36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7219940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12">
            <a:extLst>
              <a:ext uri="{FF2B5EF4-FFF2-40B4-BE49-F238E27FC236}">
                <a16:creationId xmlns:a16="http://schemas.microsoft.com/office/drawing/2014/main" id="{B807D982-D5E4-7448-989B-5B2CE886DF91}"/>
              </a:ext>
            </a:extLst>
          </p:cNvPr>
          <p:cNvSpPr>
            <a:spLocks/>
          </p:cNvSpPr>
          <p:nvPr userDrawn="1"/>
        </p:nvSpPr>
        <p:spPr bwMode="auto">
          <a:xfrm rot="1800000">
            <a:off x="12514602" y="-73109"/>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AE46F119-EEBD-A849-BD50-76C5C70DF224}"/>
              </a:ext>
            </a:extLst>
          </p:cNvPr>
          <p:cNvSpPr>
            <a:spLocks noGrp="1"/>
          </p:cNvSpPr>
          <p:nvPr>
            <p:ph type="pic" sz="quarter" idx="33"/>
          </p:nvPr>
        </p:nvSpPr>
        <p:spPr>
          <a:xfrm>
            <a:off x="11653274" y="2004483"/>
            <a:ext cx="11770980" cy="10750529"/>
          </a:xfrm>
          <a:custGeom>
            <a:avLst/>
            <a:gdLst>
              <a:gd name="connsiteX0" fmla="*/ 2509317 w 11770980"/>
              <a:gd name="connsiteY0" fmla="*/ 886 h 10750529"/>
              <a:gd name="connsiteX1" fmla="*/ 4693260 w 11770980"/>
              <a:gd name="connsiteY1" fmla="*/ 1499525 h 10750529"/>
              <a:gd name="connsiteX2" fmla="*/ 5578047 w 11770980"/>
              <a:gd name="connsiteY2" fmla="*/ 2484694 h 10750529"/>
              <a:gd name="connsiteX3" fmla="*/ 6810783 w 11770980"/>
              <a:gd name="connsiteY3" fmla="*/ 2667699 h 10750529"/>
              <a:gd name="connsiteX4" fmla="*/ 7096419 w 11770980"/>
              <a:gd name="connsiteY4" fmla="*/ 2616628 h 10750529"/>
              <a:gd name="connsiteX5" fmla="*/ 11728439 w 11770980"/>
              <a:gd name="connsiteY5" fmla="*/ 6077041 h 10750529"/>
              <a:gd name="connsiteX6" fmla="*/ 8266535 w 11770980"/>
              <a:gd name="connsiteY6" fmla="*/ 10707948 h 10750529"/>
              <a:gd name="connsiteX7" fmla="*/ 3634516 w 11770980"/>
              <a:gd name="connsiteY7" fmla="*/ 7247534 h 10750529"/>
              <a:gd name="connsiteX8" fmla="*/ 3633133 w 11770980"/>
              <a:gd name="connsiteY8" fmla="*/ 7237970 h 10750529"/>
              <a:gd name="connsiteX9" fmla="*/ 2910418 w 11770980"/>
              <a:gd name="connsiteY9" fmla="*/ 5482400 h 10750529"/>
              <a:gd name="connsiteX10" fmla="*/ 2899468 w 11770980"/>
              <a:gd name="connsiteY10" fmla="*/ 5474219 h 10750529"/>
              <a:gd name="connsiteX11" fmla="*/ 1896295 w 11770980"/>
              <a:gd name="connsiteY11" fmla="*/ 4818626 h 10750529"/>
              <a:gd name="connsiteX12" fmla="*/ 25454 w 11770980"/>
              <a:gd name="connsiteY12" fmla="*/ 2789700 h 10750529"/>
              <a:gd name="connsiteX13" fmla="*/ 2091957 w 11770980"/>
              <a:gd name="connsiteY13" fmla="*/ 25389 h 10750529"/>
              <a:gd name="connsiteX14" fmla="*/ 2509317 w 11770980"/>
              <a:gd name="connsiteY14" fmla="*/ 886 h 107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70980" h="10750529">
                <a:moveTo>
                  <a:pt x="2509317" y="886"/>
                </a:moveTo>
                <a:cubicBezTo>
                  <a:pt x="3470741" y="26850"/>
                  <a:pt x="4326946" y="621236"/>
                  <a:pt x="4693260" y="1499525"/>
                </a:cubicBezTo>
                <a:cubicBezTo>
                  <a:pt x="4870998" y="1918094"/>
                  <a:pt x="5179857" y="2263997"/>
                  <a:pt x="5578047" y="2484694"/>
                </a:cubicBezTo>
                <a:cubicBezTo>
                  <a:pt x="5955031" y="2693811"/>
                  <a:pt x="6394663" y="2762051"/>
                  <a:pt x="6810783" y="2667699"/>
                </a:cubicBezTo>
                <a:cubicBezTo>
                  <a:pt x="6905765" y="2649081"/>
                  <a:pt x="7000747" y="2630464"/>
                  <a:pt x="7096419" y="2616628"/>
                </a:cubicBezTo>
                <a:cubicBezTo>
                  <a:pt x="9330381" y="2293567"/>
                  <a:pt x="11405483" y="3843798"/>
                  <a:pt x="11728439" y="6077041"/>
                </a:cubicBezTo>
                <a:cubicBezTo>
                  <a:pt x="12051397" y="8310284"/>
                  <a:pt x="10500497" y="10384886"/>
                  <a:pt x="8266535" y="10707948"/>
                </a:cubicBezTo>
                <a:cubicBezTo>
                  <a:pt x="6032575" y="11031010"/>
                  <a:pt x="3957474" y="9480777"/>
                  <a:pt x="3634516" y="7247534"/>
                </a:cubicBezTo>
                <a:cubicBezTo>
                  <a:pt x="3633824" y="7242752"/>
                  <a:pt x="3633824" y="7242752"/>
                  <a:pt x="3633133" y="7237970"/>
                </a:cubicBezTo>
                <a:cubicBezTo>
                  <a:pt x="3545938" y="6601259"/>
                  <a:pt x="3297484" y="5997632"/>
                  <a:pt x="2910418" y="5482400"/>
                </a:cubicBezTo>
                <a:cubicBezTo>
                  <a:pt x="2910418" y="5482400"/>
                  <a:pt x="2910418" y="5482400"/>
                  <a:pt x="2899468" y="5474219"/>
                </a:cubicBezTo>
                <a:cubicBezTo>
                  <a:pt x="2651472" y="5143924"/>
                  <a:pt x="2295642" y="4912220"/>
                  <a:pt x="1896295" y="4818626"/>
                </a:cubicBezTo>
                <a:cubicBezTo>
                  <a:pt x="941702" y="4600279"/>
                  <a:pt x="174139" y="3817852"/>
                  <a:pt x="25454" y="2789700"/>
                </a:cubicBezTo>
                <a:cubicBezTo>
                  <a:pt x="-167491" y="1455493"/>
                  <a:pt x="757320" y="218395"/>
                  <a:pt x="2091957" y="25389"/>
                </a:cubicBezTo>
                <a:cubicBezTo>
                  <a:pt x="2232477" y="5068"/>
                  <a:pt x="2371970" y="-2824"/>
                  <a:pt x="2509317" y="88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EA992ACF-840E-7D43-BC54-F381A483AF21}"/>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01E618F-DA03-B04A-8880-D8978B8D78AF}"/>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57403014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1728192"/>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340494" y="5274619"/>
            <a:ext cx="5575578" cy="3363166"/>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295308" y="9328276"/>
            <a:ext cx="5575578" cy="3363166"/>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ED1558AA-6A66-C64A-B723-0BCF9E330F6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927527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680420" y="6555540"/>
            <a:ext cx="4979399" cy="3003553"/>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635234" y="1011993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9" name="Рисунок 8">
            <a:extLst>
              <a:ext uri="{FF2B5EF4-FFF2-40B4-BE49-F238E27FC236}">
                <a16:creationId xmlns:a16="http://schemas.microsoft.com/office/drawing/2014/main" id="{E5BC4F67-0267-DC40-96A5-D207666D26E5}"/>
              </a:ext>
            </a:extLst>
          </p:cNvPr>
          <p:cNvSpPr>
            <a:spLocks noGrp="1"/>
          </p:cNvSpPr>
          <p:nvPr>
            <p:ph type="pic" sz="quarter" idx="37"/>
          </p:nvPr>
        </p:nvSpPr>
        <p:spPr>
          <a:xfrm rot="10800000" flipV="1">
            <a:off x="17635234" y="299114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8435F831-CD6C-3C4D-BE00-535D674E031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5099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Рисунок 12">
            <a:extLst>
              <a:ext uri="{FF2B5EF4-FFF2-40B4-BE49-F238E27FC236}">
                <a16:creationId xmlns:a16="http://schemas.microsoft.com/office/drawing/2014/main" id="{4511BD9D-C364-754A-9D92-80DDEF734522}"/>
              </a:ext>
            </a:extLst>
          </p:cNvPr>
          <p:cNvSpPr>
            <a:spLocks noGrp="1"/>
          </p:cNvSpPr>
          <p:nvPr>
            <p:ph type="pic" sz="quarter" idx="36"/>
          </p:nvPr>
        </p:nvSpPr>
        <p:spPr>
          <a:xfrm rot="10800000" flipH="1" flipV="1">
            <a:off x="4044" y="2273364"/>
            <a:ext cx="24368093" cy="11444224"/>
          </a:xfrm>
          <a:custGeom>
            <a:avLst/>
            <a:gdLst>
              <a:gd name="connsiteX0" fmla="*/ 0 w 24368093"/>
              <a:gd name="connsiteY0" fmla="*/ 0 h 11444224"/>
              <a:gd name="connsiteX1" fmla="*/ 12184047 w 24368093"/>
              <a:gd name="connsiteY1" fmla="*/ 7014918 h 11444224"/>
              <a:gd name="connsiteX2" fmla="*/ 24368093 w 24368093"/>
              <a:gd name="connsiteY2" fmla="*/ 0 h 11444224"/>
              <a:gd name="connsiteX3" fmla="*/ 24368093 w 24368093"/>
              <a:gd name="connsiteY3" fmla="*/ 156874 h 11444224"/>
              <a:gd name="connsiteX4" fmla="*/ 24368093 w 24368093"/>
              <a:gd name="connsiteY4" fmla="*/ 11444224 h 11444224"/>
              <a:gd name="connsiteX5" fmla="*/ 19877205 w 24368093"/>
              <a:gd name="connsiteY5" fmla="*/ 11444224 h 11444224"/>
              <a:gd name="connsiteX6" fmla="*/ 4490889 w 24368093"/>
              <a:gd name="connsiteY6" fmla="*/ 11444224 h 11444224"/>
              <a:gd name="connsiteX7" fmla="*/ 0 w 24368093"/>
              <a:gd name="connsiteY7" fmla="*/ 11444224 h 11444224"/>
              <a:gd name="connsiteX8" fmla="*/ 0 w 24368093"/>
              <a:gd name="connsiteY8" fmla="*/ 156874 h 1144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68093" h="11444224">
                <a:moveTo>
                  <a:pt x="0" y="0"/>
                </a:moveTo>
                <a:lnTo>
                  <a:pt x="12184047" y="7014918"/>
                </a:lnTo>
                <a:lnTo>
                  <a:pt x="24368093" y="0"/>
                </a:lnTo>
                <a:lnTo>
                  <a:pt x="24368093" y="156874"/>
                </a:lnTo>
                <a:lnTo>
                  <a:pt x="24368093" y="11444224"/>
                </a:lnTo>
                <a:lnTo>
                  <a:pt x="19877205" y="11444224"/>
                </a:lnTo>
                <a:lnTo>
                  <a:pt x="4490889" y="11444224"/>
                </a:lnTo>
                <a:lnTo>
                  <a:pt x="0" y="11444224"/>
                </a:lnTo>
                <a:lnTo>
                  <a:pt x="0" y="156874"/>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3C4299E7-CEEE-A14D-B86F-55315AB38E4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9341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76A1696C-966F-4941-97A8-04384F535B8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0004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Main_4">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69F9FBB-49AA-334B-BB40-9064F73ABA13}"/>
              </a:ext>
            </a:extLst>
          </p:cNvPr>
          <p:cNvSpPr>
            <a:spLocks noGrp="1"/>
          </p:cNvSpPr>
          <p:nvPr>
            <p:ph type="pic" sz="quarter" idx="36"/>
          </p:nvPr>
        </p:nvSpPr>
        <p:spPr>
          <a:xfrm rot="10800000" flipV="1">
            <a:off x="-34676" y="0"/>
            <a:ext cx="24421852" cy="13717588"/>
          </a:xfrm>
          <a:custGeom>
            <a:avLst/>
            <a:gdLst>
              <a:gd name="connsiteX0" fmla="*/ 4251570 w 24421852"/>
              <a:gd name="connsiteY0" fmla="*/ 0 h 13717588"/>
              <a:gd name="connsiteX1" fmla="*/ 0 w 24421852"/>
              <a:gd name="connsiteY1" fmla="*/ 0 h 13717588"/>
              <a:gd name="connsiteX2" fmla="*/ 0 w 24421852"/>
              <a:gd name="connsiteY2" fmla="*/ 13717588 h 13717588"/>
              <a:gd name="connsiteX3" fmla="*/ 24421852 w 24421852"/>
              <a:gd name="connsiteY3" fmla="*/ 13717588 h 13717588"/>
              <a:gd name="connsiteX4" fmla="*/ 24421852 w 24421852"/>
              <a:gd name="connsiteY4" fmla="*/ 11611382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4251570" y="0"/>
                </a:moveTo>
                <a:lnTo>
                  <a:pt x="0" y="0"/>
                </a:lnTo>
                <a:lnTo>
                  <a:pt x="0" y="13717588"/>
                </a:lnTo>
                <a:lnTo>
                  <a:pt x="24421852" y="13717588"/>
                </a:lnTo>
                <a:lnTo>
                  <a:pt x="24421852" y="11611382"/>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0516027" cy="12364170"/>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94A3763-CABF-3C48-A658-1731ACAD2D9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4164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Main_4">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717A84B6-7309-4645-9B4C-ED9DD98ED3B5}"/>
              </a:ext>
            </a:extLst>
          </p:cNvPr>
          <p:cNvSpPr>
            <a:spLocks noGrp="1"/>
          </p:cNvSpPr>
          <p:nvPr>
            <p:ph type="pic" sz="quarter" idx="37"/>
          </p:nvPr>
        </p:nvSpPr>
        <p:spPr>
          <a:xfrm rot="10800000" flipH="1" flipV="1">
            <a:off x="-34676" y="0"/>
            <a:ext cx="24421852" cy="13717588"/>
          </a:xfrm>
          <a:custGeom>
            <a:avLst/>
            <a:gdLst>
              <a:gd name="connsiteX0" fmla="*/ 0 w 24421852"/>
              <a:gd name="connsiteY0" fmla="*/ 0 h 13717588"/>
              <a:gd name="connsiteX1" fmla="*/ 24421852 w 24421852"/>
              <a:gd name="connsiteY1" fmla="*/ 0 h 13717588"/>
              <a:gd name="connsiteX2" fmla="*/ 24421852 w 24421852"/>
              <a:gd name="connsiteY2" fmla="*/ 2106206 h 13717588"/>
              <a:gd name="connsiteX3" fmla="*/ 4251570 w 24421852"/>
              <a:gd name="connsiteY3" fmla="*/ 13717588 h 13717588"/>
              <a:gd name="connsiteX4" fmla="*/ 0 w 24421852"/>
              <a:gd name="connsiteY4" fmla="*/ 13717588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0" y="0"/>
                </a:moveTo>
                <a:lnTo>
                  <a:pt x="24421852" y="0"/>
                </a:lnTo>
                <a:lnTo>
                  <a:pt x="24421852" y="2106206"/>
                </a:lnTo>
                <a:lnTo>
                  <a:pt x="4251570" y="13717588"/>
                </a:lnTo>
                <a:lnTo>
                  <a:pt x="0" y="13717588"/>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5433073D-4464-6146-AD28-25633AD09666}"/>
              </a:ext>
            </a:extLst>
          </p:cNvPr>
          <p:cNvSpPr>
            <a:spLocks noGrp="1"/>
          </p:cNvSpPr>
          <p:nvPr>
            <p:ph type="pic" sz="quarter" idx="36"/>
          </p:nvPr>
        </p:nvSpPr>
        <p:spPr>
          <a:xfrm rot="10800000" flipH="1" flipV="1">
            <a:off x="13320767" y="1602210"/>
            <a:ext cx="11051368" cy="12115378"/>
          </a:xfrm>
          <a:custGeom>
            <a:avLst/>
            <a:gdLst>
              <a:gd name="connsiteX0" fmla="*/ 8687236 w 11051368"/>
              <a:gd name="connsiteY0" fmla="*/ 0 h 12115378"/>
              <a:gd name="connsiteX1" fmla="*/ 9099884 w 11051368"/>
              <a:gd name="connsiteY1" fmla="*/ 111185 h 12115378"/>
              <a:gd name="connsiteX2" fmla="*/ 10961212 w 11051368"/>
              <a:gd name="connsiteY2" fmla="*/ 1186618 h 12115378"/>
              <a:gd name="connsiteX3" fmla="*/ 11051368 w 11051368"/>
              <a:gd name="connsiteY3" fmla="*/ 1238708 h 12115378"/>
              <a:gd name="connsiteX4" fmla="*/ 11051368 w 11051368"/>
              <a:gd name="connsiteY4" fmla="*/ 11152888 h 12115378"/>
              <a:gd name="connsiteX5" fmla="*/ 10753308 w 11051368"/>
              <a:gd name="connsiteY5" fmla="*/ 11325172 h 12115378"/>
              <a:gd name="connsiteX6" fmla="*/ 9482306 w 11051368"/>
              <a:gd name="connsiteY6" fmla="*/ 12059839 h 12115378"/>
              <a:gd name="connsiteX7" fmla="*/ 9386222 w 11051368"/>
              <a:gd name="connsiteY7" fmla="*/ 12115378 h 12115378"/>
              <a:gd name="connsiteX8" fmla="*/ 6560480 w 11051368"/>
              <a:gd name="connsiteY8" fmla="*/ 12115378 h 12115378"/>
              <a:gd name="connsiteX9" fmla="*/ 5818890 w 11051368"/>
              <a:gd name="connsiteY9" fmla="*/ 12115378 h 12115378"/>
              <a:gd name="connsiteX10" fmla="*/ 5460140 w 11051368"/>
              <a:gd name="connsiteY10" fmla="*/ 11908400 h 12115378"/>
              <a:gd name="connsiteX11" fmla="*/ 408010 w 11051368"/>
              <a:gd name="connsiteY11" fmla="*/ 8993617 h 12115378"/>
              <a:gd name="connsiteX12" fmla="*/ 0 w 11051368"/>
              <a:gd name="connsiteY12" fmla="*/ 8289445 h 12115378"/>
              <a:gd name="connsiteX13" fmla="*/ 0 w 11051368"/>
              <a:gd name="connsiteY13" fmla="*/ 5472765 h 12115378"/>
              <a:gd name="connsiteX14" fmla="*/ 395647 w 11051368"/>
              <a:gd name="connsiteY14" fmla="*/ 4780948 h 12115378"/>
              <a:gd name="connsiteX15" fmla="*/ 8283860 w 11051368"/>
              <a:gd name="connsiteY15" fmla="*/ 111185 h 12115378"/>
              <a:gd name="connsiteX16" fmla="*/ 8687236 w 11051368"/>
              <a:gd name="connsiteY16" fmla="*/ 0 h 121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1368" h="12115378">
                <a:moveTo>
                  <a:pt x="8687236" y="0"/>
                </a:moveTo>
                <a:cubicBezTo>
                  <a:pt x="8827876" y="0"/>
                  <a:pt x="8970060" y="37062"/>
                  <a:pt x="9099884" y="111185"/>
                </a:cubicBezTo>
                <a:cubicBezTo>
                  <a:pt x="9828196" y="531988"/>
                  <a:pt x="10442712" y="887042"/>
                  <a:pt x="10961212" y="1186618"/>
                </a:cubicBezTo>
                <a:lnTo>
                  <a:pt x="11051368" y="1238708"/>
                </a:lnTo>
                <a:lnTo>
                  <a:pt x="11051368" y="11152888"/>
                </a:lnTo>
                <a:lnTo>
                  <a:pt x="10753308" y="11325172"/>
                </a:lnTo>
                <a:cubicBezTo>
                  <a:pt x="10239286" y="11622288"/>
                  <a:pt x="9821642" y="11863696"/>
                  <a:pt x="9482306" y="12059839"/>
                </a:cubicBezTo>
                <a:lnTo>
                  <a:pt x="9386222" y="12115378"/>
                </a:lnTo>
                <a:lnTo>
                  <a:pt x="6560480" y="12115378"/>
                </a:lnTo>
                <a:lnTo>
                  <a:pt x="5818890" y="12115378"/>
                </a:lnTo>
                <a:lnTo>
                  <a:pt x="5460140" y="11908400"/>
                </a:lnTo>
                <a:cubicBezTo>
                  <a:pt x="408010" y="8993617"/>
                  <a:pt x="408010" y="8993617"/>
                  <a:pt x="408010" y="8993617"/>
                </a:cubicBezTo>
                <a:cubicBezTo>
                  <a:pt x="160731" y="8845370"/>
                  <a:pt x="0" y="8585939"/>
                  <a:pt x="0" y="8289445"/>
                </a:cubicBezTo>
                <a:cubicBezTo>
                  <a:pt x="0" y="5472765"/>
                  <a:pt x="0" y="5472765"/>
                  <a:pt x="0" y="5472765"/>
                </a:cubicBezTo>
                <a:cubicBezTo>
                  <a:pt x="0" y="5188625"/>
                  <a:pt x="148366" y="4916841"/>
                  <a:pt x="395647" y="4780948"/>
                </a:cubicBezTo>
                <a:cubicBezTo>
                  <a:pt x="8283860" y="111185"/>
                  <a:pt x="8283860" y="111185"/>
                  <a:pt x="8283860" y="111185"/>
                </a:cubicBezTo>
                <a:cubicBezTo>
                  <a:pt x="8407500" y="37062"/>
                  <a:pt x="8546596" y="0"/>
                  <a:pt x="8687236"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7" name="Номер слайда 1">
            <a:extLst>
              <a:ext uri="{FF2B5EF4-FFF2-40B4-BE49-F238E27FC236}">
                <a16:creationId xmlns:a16="http://schemas.microsoft.com/office/drawing/2014/main" id="{00FE27D2-F17E-D645-B45E-3ED5747B52F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47841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1074658"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C4002CBC-2882-AA48-A62B-06802D22F78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5323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H="1" flipV="1">
            <a:off x="13320768" y="246527"/>
            <a:ext cx="11066407"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B42BA861-9B4A-8E4D-8E58-A4DA8889BBD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24980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7FAAD09F-A2C8-AF45-A61E-3B290DC72460}"/>
              </a:ext>
            </a:extLst>
          </p:cNvPr>
          <p:cNvSpPr>
            <a:spLocks noGrp="1"/>
          </p:cNvSpPr>
          <p:nvPr>
            <p:ph type="pic" sz="quarter" idx="32"/>
          </p:nvPr>
        </p:nvSpPr>
        <p:spPr>
          <a:xfrm>
            <a:off x="0" y="0"/>
            <a:ext cx="10993686" cy="13717588"/>
          </a:xfrm>
          <a:custGeom>
            <a:avLst/>
            <a:gdLst>
              <a:gd name="connsiteX0" fmla="*/ 0 w 10993686"/>
              <a:gd name="connsiteY0" fmla="*/ 0 h 13717588"/>
              <a:gd name="connsiteX1" fmla="*/ 2087781 w 10993686"/>
              <a:gd name="connsiteY1" fmla="*/ 0 h 13717588"/>
              <a:gd name="connsiteX2" fmla="*/ 2133639 w 10993686"/>
              <a:gd name="connsiteY2" fmla="*/ 27127 h 13717588"/>
              <a:gd name="connsiteX3" fmla="*/ 10351785 w 10993686"/>
              <a:gd name="connsiteY3" fmla="*/ 4888585 h 13717588"/>
              <a:gd name="connsiteX4" fmla="*/ 10993686 w 10993686"/>
              <a:gd name="connsiteY4" fmla="*/ 6010156 h 13717588"/>
              <a:gd name="connsiteX5" fmla="*/ 10993686 w 10993686"/>
              <a:gd name="connsiteY5" fmla="*/ 10576556 h 13717588"/>
              <a:gd name="connsiteX6" fmla="*/ 10331727 w 10993686"/>
              <a:gd name="connsiteY6" fmla="*/ 11718159 h 13717588"/>
              <a:gd name="connsiteX7" fmla="*/ 7020699 w 10993686"/>
              <a:gd name="connsiteY7" fmla="*/ 13627005 h 13717588"/>
              <a:gd name="connsiteX8" fmla="*/ 6863577 w 10993686"/>
              <a:gd name="connsiteY8" fmla="*/ 13717588 h 13717588"/>
              <a:gd name="connsiteX9" fmla="*/ 0 w 10993686"/>
              <a:gd name="connsiteY9"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6" h="13717588">
                <a:moveTo>
                  <a:pt x="0" y="0"/>
                </a:moveTo>
                <a:lnTo>
                  <a:pt x="2087781" y="0"/>
                </a:lnTo>
                <a:lnTo>
                  <a:pt x="2133639" y="27127"/>
                </a:lnTo>
                <a:cubicBezTo>
                  <a:pt x="4004597" y="1133895"/>
                  <a:pt x="6639894" y="2692810"/>
                  <a:pt x="10351785" y="4888585"/>
                </a:cubicBezTo>
                <a:cubicBezTo>
                  <a:pt x="10752975" y="5108894"/>
                  <a:pt x="10993686" y="5549510"/>
                  <a:pt x="10993686" y="6010156"/>
                </a:cubicBezTo>
                <a:cubicBezTo>
                  <a:pt x="10993686" y="6010156"/>
                  <a:pt x="10993686" y="6010156"/>
                  <a:pt x="10993686" y="10576556"/>
                </a:cubicBezTo>
                <a:cubicBezTo>
                  <a:pt x="10993686" y="11057231"/>
                  <a:pt x="10732914" y="11477821"/>
                  <a:pt x="10331727" y="11718159"/>
                </a:cubicBezTo>
                <a:cubicBezTo>
                  <a:pt x="10331727" y="11718159"/>
                  <a:pt x="10331727" y="11718159"/>
                  <a:pt x="7020699" y="13627005"/>
                </a:cubicBezTo>
                <a:lnTo>
                  <a:pt x="6863577"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DCD0BBFE-091B-744A-BD13-3904560E5B8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4078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DA4A796E-24C6-D743-993E-2934AE7149F5}"/>
              </a:ext>
            </a:extLst>
          </p:cNvPr>
          <p:cNvSpPr>
            <a:spLocks noGrp="1"/>
          </p:cNvSpPr>
          <p:nvPr>
            <p:ph type="pic" sz="quarter" idx="36"/>
          </p:nvPr>
        </p:nvSpPr>
        <p:spPr>
          <a:xfrm rot="10800000" flipH="1" flipV="1">
            <a:off x="13393489" y="15195"/>
            <a:ext cx="10993687" cy="13717588"/>
          </a:xfrm>
          <a:custGeom>
            <a:avLst/>
            <a:gdLst>
              <a:gd name="connsiteX0" fmla="*/ 4130109 w 10993687"/>
              <a:gd name="connsiteY0" fmla="*/ 0 h 13717588"/>
              <a:gd name="connsiteX1" fmla="*/ 10993687 w 10993687"/>
              <a:gd name="connsiteY1" fmla="*/ 0 h 13717588"/>
              <a:gd name="connsiteX2" fmla="*/ 10993687 w 10993687"/>
              <a:gd name="connsiteY2" fmla="*/ 13717588 h 13717588"/>
              <a:gd name="connsiteX3" fmla="*/ 8905905 w 10993687"/>
              <a:gd name="connsiteY3" fmla="*/ 13717588 h 13717588"/>
              <a:gd name="connsiteX4" fmla="*/ 8860047 w 10993687"/>
              <a:gd name="connsiteY4" fmla="*/ 13690461 h 13717588"/>
              <a:gd name="connsiteX5" fmla="*/ 641901 w 10993687"/>
              <a:gd name="connsiteY5" fmla="*/ 8829003 h 13717588"/>
              <a:gd name="connsiteX6" fmla="*/ 0 w 10993687"/>
              <a:gd name="connsiteY6" fmla="*/ 7707432 h 13717588"/>
              <a:gd name="connsiteX7" fmla="*/ 0 w 10993687"/>
              <a:gd name="connsiteY7" fmla="*/ 3141032 h 13717588"/>
              <a:gd name="connsiteX8" fmla="*/ 661959 w 10993687"/>
              <a:gd name="connsiteY8" fmla="*/ 1999429 h 13717588"/>
              <a:gd name="connsiteX9" fmla="*/ 3972987 w 10993687"/>
              <a:gd name="connsiteY9" fmla="*/ 9058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7" h="13717588">
                <a:moveTo>
                  <a:pt x="4130109" y="0"/>
                </a:moveTo>
                <a:lnTo>
                  <a:pt x="10993687" y="0"/>
                </a:lnTo>
                <a:lnTo>
                  <a:pt x="10993687" y="13717588"/>
                </a:lnTo>
                <a:lnTo>
                  <a:pt x="8905905" y="13717588"/>
                </a:lnTo>
                <a:lnTo>
                  <a:pt x="8860047" y="13690461"/>
                </a:lnTo>
                <a:cubicBezTo>
                  <a:pt x="6989089" y="12583693"/>
                  <a:pt x="4353791" y="11024778"/>
                  <a:pt x="641901" y="8829003"/>
                </a:cubicBezTo>
                <a:cubicBezTo>
                  <a:pt x="240711" y="8608694"/>
                  <a:pt x="0" y="8168078"/>
                  <a:pt x="0" y="7707432"/>
                </a:cubicBezTo>
                <a:cubicBezTo>
                  <a:pt x="0" y="7707432"/>
                  <a:pt x="0" y="7707432"/>
                  <a:pt x="0" y="3141032"/>
                </a:cubicBezTo>
                <a:cubicBezTo>
                  <a:pt x="0" y="2660357"/>
                  <a:pt x="260772" y="2239767"/>
                  <a:pt x="661959" y="1999429"/>
                </a:cubicBezTo>
                <a:cubicBezTo>
                  <a:pt x="661959" y="1999429"/>
                  <a:pt x="661959" y="1999429"/>
                  <a:pt x="3972987" y="90583"/>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22D5D3BF-1794-DB41-BDBB-E5B1737E1CD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78724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Рисунок 9">
            <a:extLst>
              <a:ext uri="{FF2B5EF4-FFF2-40B4-BE49-F238E27FC236}">
                <a16:creationId xmlns:a16="http://schemas.microsoft.com/office/drawing/2014/main" id="{E730F9EC-CFA8-D041-8557-01DCF654247E}"/>
              </a:ext>
            </a:extLst>
          </p:cNvPr>
          <p:cNvSpPr>
            <a:spLocks noGrp="1"/>
          </p:cNvSpPr>
          <p:nvPr>
            <p:ph type="pic" sz="quarter" idx="36"/>
          </p:nvPr>
        </p:nvSpPr>
        <p:spPr>
          <a:xfrm rot="10800000" flipV="1">
            <a:off x="-2" y="0"/>
            <a:ext cx="12204541" cy="13177222"/>
          </a:xfrm>
          <a:custGeom>
            <a:avLst/>
            <a:gdLst>
              <a:gd name="connsiteX0" fmla="*/ 12204541 w 12204541"/>
              <a:gd name="connsiteY0" fmla="*/ 0 h 13177222"/>
              <a:gd name="connsiteX1" fmla="*/ 5455070 w 12204541"/>
              <a:gd name="connsiteY1" fmla="*/ 0 h 13177222"/>
              <a:gd name="connsiteX2" fmla="*/ 5040909 w 12204541"/>
              <a:gd name="connsiteY2" fmla="*/ 244998 h 13177222"/>
              <a:gd name="connsiteX3" fmla="*/ 492109 w 12204541"/>
              <a:gd name="connsiteY3" fmla="*/ 2935847 h 13177222"/>
              <a:gd name="connsiteX4" fmla="*/ 0 w 12204541"/>
              <a:gd name="connsiteY4" fmla="*/ 3795693 h 13177222"/>
              <a:gd name="connsiteX5" fmla="*/ 0 w 12204541"/>
              <a:gd name="connsiteY5" fmla="*/ 7296490 h 13177222"/>
              <a:gd name="connsiteX6" fmla="*/ 507485 w 12204541"/>
              <a:gd name="connsiteY6" fmla="*/ 8171692 h 13177222"/>
              <a:gd name="connsiteX7" fmla="*/ 8950229 w 12204541"/>
              <a:gd name="connsiteY7" fmla="*/ 13039032 h 13177222"/>
              <a:gd name="connsiteX8" fmla="*/ 9965204 w 12204541"/>
              <a:gd name="connsiteY8" fmla="*/ 13039032 h 13177222"/>
              <a:gd name="connsiteX9" fmla="*/ 12013419 w 12204541"/>
              <a:gd name="connsiteY9" fmla="*/ 11856001 h 13177222"/>
              <a:gd name="connsiteX10" fmla="*/ 12204541 w 12204541"/>
              <a:gd name="connsiteY10" fmla="*/ 11745611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4541" h="13177222">
                <a:moveTo>
                  <a:pt x="12204541" y="0"/>
                </a:moveTo>
                <a:lnTo>
                  <a:pt x="5455070" y="0"/>
                </a:lnTo>
                <a:lnTo>
                  <a:pt x="5040909" y="244998"/>
                </a:lnTo>
                <a:cubicBezTo>
                  <a:pt x="3826458" y="963408"/>
                  <a:pt x="2331750" y="1847605"/>
                  <a:pt x="492109" y="2935847"/>
                </a:cubicBezTo>
                <a:cubicBezTo>
                  <a:pt x="184539" y="3104746"/>
                  <a:pt x="0" y="3442541"/>
                  <a:pt x="0" y="3795693"/>
                </a:cubicBezTo>
                <a:cubicBezTo>
                  <a:pt x="0" y="3795693"/>
                  <a:pt x="0" y="3795693"/>
                  <a:pt x="0" y="7296490"/>
                </a:cubicBezTo>
                <a:cubicBezTo>
                  <a:pt x="0" y="7664997"/>
                  <a:pt x="199919" y="7987439"/>
                  <a:pt x="507485" y="8171692"/>
                </a:cubicBezTo>
                <a:cubicBezTo>
                  <a:pt x="507485" y="8171692"/>
                  <a:pt x="507485" y="8171692"/>
                  <a:pt x="8950229" y="13039032"/>
                </a:cubicBezTo>
                <a:cubicBezTo>
                  <a:pt x="9273176" y="13223286"/>
                  <a:pt x="9642257" y="13223286"/>
                  <a:pt x="9965204" y="13039032"/>
                </a:cubicBezTo>
                <a:cubicBezTo>
                  <a:pt x="9965204" y="13039032"/>
                  <a:pt x="9965204" y="13039032"/>
                  <a:pt x="12013419" y="11856001"/>
                </a:cubicBezTo>
                <a:lnTo>
                  <a:pt x="12204541" y="11745611"/>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A265E8F4-58AA-4F45-A0FB-12F6028E632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2316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2BECD397-EB38-4143-94F4-DBA64C0BE439}"/>
              </a:ext>
            </a:extLst>
          </p:cNvPr>
          <p:cNvSpPr>
            <a:spLocks noGrp="1"/>
          </p:cNvSpPr>
          <p:nvPr>
            <p:ph type="pic" sz="quarter" idx="37"/>
          </p:nvPr>
        </p:nvSpPr>
        <p:spPr>
          <a:xfrm rot="10800000" flipH="1" flipV="1">
            <a:off x="12155756" y="535075"/>
            <a:ext cx="12204541" cy="13177222"/>
          </a:xfrm>
          <a:custGeom>
            <a:avLst/>
            <a:gdLst>
              <a:gd name="connsiteX0" fmla="*/ 9457717 w 12204541"/>
              <a:gd name="connsiteY0" fmla="*/ 0 h 13177222"/>
              <a:gd name="connsiteX1" fmla="*/ 9965205 w 12204541"/>
              <a:gd name="connsiteY1" fmla="*/ 138190 h 13177222"/>
              <a:gd name="connsiteX2" fmla="*/ 12013419 w 12204541"/>
              <a:gd name="connsiteY2" fmla="*/ 1321221 h 13177222"/>
              <a:gd name="connsiteX3" fmla="*/ 12204541 w 12204541"/>
              <a:gd name="connsiteY3" fmla="*/ 1431611 h 13177222"/>
              <a:gd name="connsiteX4" fmla="*/ 12204541 w 12204541"/>
              <a:gd name="connsiteY4" fmla="*/ 13177222 h 13177222"/>
              <a:gd name="connsiteX5" fmla="*/ 5455069 w 12204541"/>
              <a:gd name="connsiteY5" fmla="*/ 13177222 h 13177222"/>
              <a:gd name="connsiteX6" fmla="*/ 5040909 w 12204541"/>
              <a:gd name="connsiteY6" fmla="*/ 12932224 h 13177222"/>
              <a:gd name="connsiteX7" fmla="*/ 492109 w 12204541"/>
              <a:gd name="connsiteY7" fmla="*/ 10241375 h 13177222"/>
              <a:gd name="connsiteX8" fmla="*/ 0 w 12204541"/>
              <a:gd name="connsiteY8" fmla="*/ 9381529 h 13177222"/>
              <a:gd name="connsiteX9" fmla="*/ 0 w 12204541"/>
              <a:gd name="connsiteY9" fmla="*/ 5880732 h 13177222"/>
              <a:gd name="connsiteX10" fmla="*/ 507485 w 12204541"/>
              <a:gd name="connsiteY10" fmla="*/ 5005530 h 13177222"/>
              <a:gd name="connsiteX11" fmla="*/ 8950229 w 12204541"/>
              <a:gd name="connsiteY11" fmla="*/ 138190 h 13177222"/>
              <a:gd name="connsiteX12" fmla="*/ 9457717 w 12204541"/>
              <a:gd name="connsiteY12" fmla="*/ 0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4541" h="13177222">
                <a:moveTo>
                  <a:pt x="9457717" y="0"/>
                </a:moveTo>
                <a:cubicBezTo>
                  <a:pt x="9630725" y="0"/>
                  <a:pt x="9803731" y="46063"/>
                  <a:pt x="9965205" y="138190"/>
                </a:cubicBezTo>
                <a:cubicBezTo>
                  <a:pt x="9965205" y="138190"/>
                  <a:pt x="9965205" y="138190"/>
                  <a:pt x="12013419" y="1321221"/>
                </a:cubicBezTo>
                <a:lnTo>
                  <a:pt x="12204541" y="1431611"/>
                </a:lnTo>
                <a:lnTo>
                  <a:pt x="12204541" y="13177222"/>
                </a:lnTo>
                <a:lnTo>
                  <a:pt x="5455069" y="13177222"/>
                </a:lnTo>
                <a:lnTo>
                  <a:pt x="5040909" y="12932224"/>
                </a:lnTo>
                <a:cubicBezTo>
                  <a:pt x="3826458" y="12213814"/>
                  <a:pt x="2331750" y="11329617"/>
                  <a:pt x="492109" y="10241375"/>
                </a:cubicBezTo>
                <a:cubicBezTo>
                  <a:pt x="184539" y="10072476"/>
                  <a:pt x="0" y="9734681"/>
                  <a:pt x="0" y="9381529"/>
                </a:cubicBezTo>
                <a:cubicBezTo>
                  <a:pt x="0" y="9381529"/>
                  <a:pt x="0" y="9381529"/>
                  <a:pt x="0" y="5880732"/>
                </a:cubicBezTo>
                <a:cubicBezTo>
                  <a:pt x="0" y="5512225"/>
                  <a:pt x="199919" y="5189784"/>
                  <a:pt x="507485" y="5005530"/>
                </a:cubicBezTo>
                <a:cubicBezTo>
                  <a:pt x="507485" y="5005530"/>
                  <a:pt x="507485" y="5005530"/>
                  <a:pt x="8950229" y="138190"/>
                </a:cubicBezTo>
                <a:cubicBezTo>
                  <a:pt x="9111703" y="46063"/>
                  <a:pt x="9284709" y="0"/>
                  <a:pt x="9457717"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543DDAD0-DA70-A548-82C4-E8916A0947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5497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_39">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17217"/>
            <a:ext cx="24359711" cy="1370037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Заголовок 1"/>
          <p:cNvSpPr>
            <a:spLocks noGrp="1"/>
          </p:cNvSpPr>
          <p:nvPr>
            <p:ph type="title" hasCustomPrompt="1"/>
          </p:nvPr>
        </p:nvSpPr>
        <p:spPr>
          <a:xfrm>
            <a:off x="5310625" y="5202610"/>
            <a:ext cx="13765923" cy="3973497"/>
          </a:xfrm>
          <a:prstGeom prst="rect">
            <a:avLst/>
          </a:prstGeom>
        </p:spPr>
        <p:txBody>
          <a:bodyPr anchor="ct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1701055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_40">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1608411" y="2303240"/>
            <a:ext cx="4463777" cy="685981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Прямоугольник 15"/>
          <p:cNvSpPr/>
          <p:nvPr userDrawn="1"/>
        </p:nvSpPr>
        <p:spPr>
          <a:xfrm>
            <a:off x="154650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9C0147E3-641B-3F41-AF7A-E0605EFFEA6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40269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E2B5BF83-35B2-004F-8794-E75EF79B3C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209615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_41">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38" name="Текст 3"/>
          <p:cNvSpPr>
            <a:spLocks noGrp="1"/>
          </p:cNvSpPr>
          <p:nvPr>
            <p:ph type="body" sz="quarter" idx="14" hasCustomPrompt="1"/>
          </p:nvPr>
        </p:nvSpPr>
        <p:spPr>
          <a:xfrm>
            <a:off x="160841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2178274"/>
            <a:ext cx="6072188"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Номер слайда 1">
            <a:extLst>
              <a:ext uri="{FF2B5EF4-FFF2-40B4-BE49-F238E27FC236}">
                <a16:creationId xmlns:a16="http://schemas.microsoft.com/office/drawing/2014/main" id="{E3119635-8946-D34B-A648-31EE66EE5FE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136173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_42">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5" name="Текст 3"/>
          <p:cNvSpPr>
            <a:spLocks noGrp="1"/>
          </p:cNvSpPr>
          <p:nvPr>
            <p:ph type="body" sz="quarter" idx="14" hasCustomPrompt="1"/>
          </p:nvPr>
        </p:nvSpPr>
        <p:spPr>
          <a:xfrm>
            <a:off x="7471379"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6104996"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18314988"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1633572"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30" hasCustomPrompt="1"/>
          </p:nvPr>
        </p:nvSpPr>
        <p:spPr>
          <a:xfrm>
            <a:off x="19146994"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4" name="Текст 3"/>
          <p:cNvSpPr>
            <a:spLocks noGrp="1"/>
          </p:cNvSpPr>
          <p:nvPr>
            <p:ph type="body" sz="quarter" idx="31" hasCustomPrompt="1"/>
          </p:nvPr>
        </p:nvSpPr>
        <p:spPr>
          <a:xfrm>
            <a:off x="13309186"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Номер слайда 1">
            <a:extLst>
              <a:ext uri="{FF2B5EF4-FFF2-40B4-BE49-F238E27FC236}">
                <a16:creationId xmlns:a16="http://schemas.microsoft.com/office/drawing/2014/main" id="{651D863C-CC75-4E4F-B10B-5A4AE69B16E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0419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_43">
    <p:spTree>
      <p:nvGrpSpPr>
        <p:cNvPr id="1" name=""/>
        <p:cNvGrpSpPr/>
        <p:nvPr/>
      </p:nvGrpSpPr>
      <p:grpSpPr>
        <a:xfrm>
          <a:off x="0" y="0"/>
          <a:ext cx="0" cy="0"/>
          <a:chOff x="0" y="0"/>
          <a:chExt cx="0" cy="0"/>
        </a:xfrm>
      </p:grpSpPr>
      <p:sp>
        <p:nvSpPr>
          <p:cNvPr id="25" name="Прямоугольник 24"/>
          <p:cNvSpPr/>
          <p:nvPr userDrawn="1"/>
        </p:nvSpPr>
        <p:spPr>
          <a:xfrm>
            <a:off x="12193589" y="4554538"/>
            <a:ext cx="12220748"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3" name="Прямоугольник 12"/>
          <p:cNvSpPr/>
          <p:nvPr userDrawn="1"/>
        </p:nvSpPr>
        <p:spPr>
          <a:xfrm>
            <a:off x="0" y="4554538"/>
            <a:ext cx="18314987" cy="460851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18956732"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9" hasCustomPrompt="1"/>
          </p:nvPr>
        </p:nvSpPr>
        <p:spPr>
          <a:xfrm>
            <a:off x="6787380"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FDED8FEF-D779-5448-90B9-0C3D59848E5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263426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_49">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2116245"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Текст 3"/>
          <p:cNvSpPr>
            <a:spLocks noGrp="1"/>
          </p:cNvSpPr>
          <p:nvPr>
            <p:ph type="body" sz="quarter" idx="15" hasCustomPrompt="1"/>
          </p:nvPr>
        </p:nvSpPr>
        <p:spPr>
          <a:xfrm>
            <a:off x="2116245"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Текст 3"/>
          <p:cNvSpPr>
            <a:spLocks noGrp="1"/>
          </p:cNvSpPr>
          <p:nvPr>
            <p:ph type="body" sz="quarter" idx="16" hasCustomPrompt="1"/>
          </p:nvPr>
        </p:nvSpPr>
        <p:spPr>
          <a:xfrm>
            <a:off x="13278211"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Текст 3"/>
          <p:cNvSpPr>
            <a:spLocks noGrp="1"/>
          </p:cNvSpPr>
          <p:nvPr>
            <p:ph type="body" sz="quarter" idx="17" hasCustomPrompt="1"/>
          </p:nvPr>
        </p:nvSpPr>
        <p:spPr>
          <a:xfrm>
            <a:off x="13278211"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CC39289E-ADF7-4048-A346-4945D998AF9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77834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dget_6">
    <p:spTree>
      <p:nvGrpSpPr>
        <p:cNvPr id="1" name=""/>
        <p:cNvGrpSpPr/>
        <p:nvPr/>
      </p:nvGrpSpPr>
      <p:grpSpPr>
        <a:xfrm>
          <a:off x="0" y="0"/>
          <a:ext cx="0" cy="0"/>
          <a:chOff x="0" y="0"/>
          <a:chExt cx="0" cy="0"/>
        </a:xfrm>
      </p:grpSpPr>
      <p:sp>
        <p:nvSpPr>
          <p:cNvPr id="10" name="Прямоугольник 9"/>
          <p:cNvSpPr/>
          <p:nvPr userDrawn="1"/>
        </p:nvSpPr>
        <p:spPr>
          <a:xfrm>
            <a:off x="0" y="2104183"/>
            <a:ext cx="24387175" cy="9581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4800"/>
          </a:p>
        </p:txBody>
      </p:sp>
      <p:sp>
        <p:nvSpPr>
          <p:cNvPr id="21" name="Picture Placeholder 2"/>
          <p:cNvSpPr>
            <a:spLocks noGrp="1"/>
          </p:cNvSpPr>
          <p:nvPr>
            <p:ph type="pic" sz="quarter" idx="20"/>
          </p:nvPr>
        </p:nvSpPr>
        <p:spPr>
          <a:xfrm>
            <a:off x="9664890"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Текст 3"/>
          <p:cNvSpPr>
            <a:spLocks noGrp="1"/>
          </p:cNvSpPr>
          <p:nvPr>
            <p:ph type="body" sz="quarter" idx="21" hasCustomPrompt="1"/>
          </p:nvPr>
        </p:nvSpPr>
        <p:spPr>
          <a:xfrm>
            <a:off x="1630875" y="3330402"/>
            <a:ext cx="6726651" cy="7416824"/>
          </a:xfrm>
          <a:prstGeom prst="rect">
            <a:avLst/>
          </a:prstGeom>
        </p:spPr>
        <p:txBody>
          <a:bodyPr/>
          <a:lstStyle>
            <a:lvl1pPr algn="r">
              <a:lnSpc>
                <a:spcPct val="120000"/>
              </a:lnSpc>
              <a:spcBef>
                <a:spcPts val="1272"/>
              </a:spcBef>
              <a:defRPr lang="en-US" sz="28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9" name="Picture Placeholder 2">
            <a:extLst>
              <a:ext uri="{FF2B5EF4-FFF2-40B4-BE49-F238E27FC236}">
                <a16:creationId xmlns:a16="http://schemas.microsoft.com/office/drawing/2014/main" id="{E307737F-8074-9E43-97ED-E62A14592B0E}"/>
              </a:ext>
            </a:extLst>
          </p:cNvPr>
          <p:cNvSpPr>
            <a:spLocks noGrp="1"/>
          </p:cNvSpPr>
          <p:nvPr>
            <p:ph type="pic" sz="quarter" idx="22"/>
          </p:nvPr>
        </p:nvSpPr>
        <p:spPr>
          <a:xfrm>
            <a:off x="17018123"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Номер слайда 1">
            <a:extLst>
              <a:ext uri="{FF2B5EF4-FFF2-40B4-BE49-F238E27FC236}">
                <a16:creationId xmlns:a16="http://schemas.microsoft.com/office/drawing/2014/main" id="{DD254A6D-0979-CE4D-B26F-96A39A14F9A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5351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meLine_1">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2040460" y="1674218"/>
            <a:ext cx="8497581" cy="273685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a:endCxn id="20" idx="0"/>
          </p:cNvCxnSpPr>
          <p:nvPr userDrawn="1"/>
        </p:nvCxnSpPr>
        <p:spPr>
          <a:xfrm flipV="1">
            <a:off x="13849771" y="5706666"/>
            <a:ext cx="0" cy="8010922"/>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5913473"/>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5913473"/>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5706666"/>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A14630A1-E1DB-674C-9F28-6DB5B84E5D7A}"/>
              </a:ext>
            </a:extLst>
          </p:cNvPr>
          <p:cNvSpPr/>
          <p:nvPr userDrawn="1"/>
        </p:nvSpPr>
        <p:spPr>
          <a:xfrm>
            <a:off x="13642962" y="9491212"/>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Picture Placeholder 2">
            <a:extLst>
              <a:ext uri="{FF2B5EF4-FFF2-40B4-BE49-F238E27FC236}">
                <a16:creationId xmlns:a16="http://schemas.microsoft.com/office/drawing/2014/main" id="{804E6AC8-6E4D-864A-870E-7F862AE281ED}"/>
              </a:ext>
            </a:extLst>
          </p:cNvPr>
          <p:cNvSpPr>
            <a:spLocks noGrp="1"/>
          </p:cNvSpPr>
          <p:nvPr>
            <p:ph type="pic" sz="quarter" idx="29"/>
          </p:nvPr>
        </p:nvSpPr>
        <p:spPr>
          <a:xfrm>
            <a:off x="14825155" y="9683612"/>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4" name="Текст 3">
            <a:extLst>
              <a:ext uri="{FF2B5EF4-FFF2-40B4-BE49-F238E27FC236}">
                <a16:creationId xmlns:a16="http://schemas.microsoft.com/office/drawing/2014/main" id="{28529CCD-3F0C-834A-9A32-AD693A3526F1}"/>
              </a:ext>
            </a:extLst>
          </p:cNvPr>
          <p:cNvSpPr>
            <a:spLocks noGrp="1"/>
          </p:cNvSpPr>
          <p:nvPr>
            <p:ph type="body" sz="quarter" idx="30" hasCustomPrompt="1"/>
          </p:nvPr>
        </p:nvSpPr>
        <p:spPr>
          <a:xfrm>
            <a:off x="4854362" y="9683612"/>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29098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meLine_1">
    <p:spTree>
      <p:nvGrpSpPr>
        <p:cNvPr id="1" name=""/>
        <p:cNvGrpSpPr/>
        <p:nvPr/>
      </p:nvGrpSpPr>
      <p:grpSpPr>
        <a:xfrm>
          <a:off x="0" y="0"/>
          <a:ext cx="0" cy="0"/>
          <a:chOff x="0" y="0"/>
          <a:chExt cx="0" cy="0"/>
        </a:xfrm>
      </p:grpSpPr>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p:cNvCxnSpPr>
          <p:nvPr userDrawn="1"/>
        </p:nvCxnSpPr>
        <p:spPr>
          <a:xfrm flipV="1">
            <a:off x="13849771" y="0"/>
            <a:ext cx="0" cy="13717588"/>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1618716"/>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1618716"/>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1411909"/>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Picture Placeholder 2">
            <a:extLst>
              <a:ext uri="{FF2B5EF4-FFF2-40B4-BE49-F238E27FC236}">
                <a16:creationId xmlns:a16="http://schemas.microsoft.com/office/drawing/2014/main" id="{132E7A68-4798-DD45-8CAF-EE6FFA9C6C37}"/>
              </a:ext>
            </a:extLst>
          </p:cNvPr>
          <p:cNvSpPr>
            <a:spLocks noGrp="1"/>
          </p:cNvSpPr>
          <p:nvPr>
            <p:ph type="pic" sz="quarter" idx="29"/>
          </p:nvPr>
        </p:nvSpPr>
        <p:spPr>
          <a:xfrm>
            <a:off x="14801843" y="5388855"/>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Текст 3">
            <a:extLst>
              <a:ext uri="{FF2B5EF4-FFF2-40B4-BE49-F238E27FC236}">
                <a16:creationId xmlns:a16="http://schemas.microsoft.com/office/drawing/2014/main" id="{BAA75962-A3B6-6946-A9C7-34425281439E}"/>
              </a:ext>
            </a:extLst>
          </p:cNvPr>
          <p:cNvSpPr>
            <a:spLocks noGrp="1"/>
          </p:cNvSpPr>
          <p:nvPr>
            <p:ph type="body" sz="quarter" idx="30" hasCustomPrompt="1"/>
          </p:nvPr>
        </p:nvSpPr>
        <p:spPr>
          <a:xfrm>
            <a:off x="4831050" y="5388855"/>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Овал 12">
            <a:extLst>
              <a:ext uri="{FF2B5EF4-FFF2-40B4-BE49-F238E27FC236}">
                <a16:creationId xmlns:a16="http://schemas.microsoft.com/office/drawing/2014/main" id="{92DEF9A5-2B46-534D-A105-93FCB6253845}"/>
              </a:ext>
            </a:extLst>
          </p:cNvPr>
          <p:cNvSpPr/>
          <p:nvPr userDrawn="1"/>
        </p:nvSpPr>
        <p:spPr>
          <a:xfrm>
            <a:off x="13625242" y="5182048"/>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Picture Placeholder 2">
            <a:extLst>
              <a:ext uri="{FF2B5EF4-FFF2-40B4-BE49-F238E27FC236}">
                <a16:creationId xmlns:a16="http://schemas.microsoft.com/office/drawing/2014/main" id="{A88E757A-85CB-2D48-A865-72D5155E518C}"/>
              </a:ext>
            </a:extLst>
          </p:cNvPr>
          <p:cNvSpPr>
            <a:spLocks noGrp="1"/>
          </p:cNvSpPr>
          <p:nvPr>
            <p:ph type="pic" sz="quarter" idx="31"/>
          </p:nvPr>
        </p:nvSpPr>
        <p:spPr>
          <a:xfrm>
            <a:off x="14805388" y="9107548"/>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8" name="Текст 3">
            <a:extLst>
              <a:ext uri="{FF2B5EF4-FFF2-40B4-BE49-F238E27FC236}">
                <a16:creationId xmlns:a16="http://schemas.microsoft.com/office/drawing/2014/main" id="{18CD846F-5A25-A44C-BA1E-80416DA7D65A}"/>
              </a:ext>
            </a:extLst>
          </p:cNvPr>
          <p:cNvSpPr>
            <a:spLocks noGrp="1"/>
          </p:cNvSpPr>
          <p:nvPr>
            <p:ph type="body" sz="quarter" idx="32" hasCustomPrompt="1"/>
          </p:nvPr>
        </p:nvSpPr>
        <p:spPr>
          <a:xfrm>
            <a:off x="4834595" y="9107548"/>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9" name="Овал 28">
            <a:extLst>
              <a:ext uri="{FF2B5EF4-FFF2-40B4-BE49-F238E27FC236}">
                <a16:creationId xmlns:a16="http://schemas.microsoft.com/office/drawing/2014/main" id="{B7EE839A-84A7-274A-93D4-74D2897195AD}"/>
              </a:ext>
            </a:extLst>
          </p:cNvPr>
          <p:cNvSpPr/>
          <p:nvPr userDrawn="1"/>
        </p:nvSpPr>
        <p:spPr>
          <a:xfrm>
            <a:off x="13628787" y="8900741"/>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Номер слайда 1">
            <a:extLst>
              <a:ext uri="{FF2B5EF4-FFF2-40B4-BE49-F238E27FC236}">
                <a16:creationId xmlns:a16="http://schemas.microsoft.com/office/drawing/2014/main" id="{EDF798B8-BAF4-4A4D-8856-A08B2C709D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64546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_8">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63454D37-0D4A-E04A-BBC6-E4FF404A4BED}"/>
              </a:ext>
            </a:extLst>
          </p:cNvPr>
          <p:cNvSpPr>
            <a:spLocks noGrp="1"/>
          </p:cNvSpPr>
          <p:nvPr>
            <p:ph type="pic" sz="quarter" idx="21"/>
          </p:nvPr>
        </p:nvSpPr>
        <p:spPr>
          <a:xfrm>
            <a:off x="-1"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2" name="Picture Placeholder 2">
            <a:extLst>
              <a:ext uri="{FF2B5EF4-FFF2-40B4-BE49-F238E27FC236}">
                <a16:creationId xmlns:a16="http://schemas.microsoft.com/office/drawing/2014/main" id="{C09734D3-769B-1A48-AEE9-BA99FD9DACEB}"/>
              </a:ext>
            </a:extLst>
          </p:cNvPr>
          <p:cNvSpPr>
            <a:spLocks noGrp="1"/>
          </p:cNvSpPr>
          <p:nvPr>
            <p:ph type="pic" sz="quarter" idx="22"/>
          </p:nvPr>
        </p:nvSpPr>
        <p:spPr>
          <a:xfrm>
            <a:off x="4866598"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3" name="Picture Placeholder 2">
            <a:extLst>
              <a:ext uri="{FF2B5EF4-FFF2-40B4-BE49-F238E27FC236}">
                <a16:creationId xmlns:a16="http://schemas.microsoft.com/office/drawing/2014/main" id="{721B513A-77F9-3D43-B73B-8C2EEB395513}"/>
              </a:ext>
            </a:extLst>
          </p:cNvPr>
          <p:cNvSpPr>
            <a:spLocks noGrp="1"/>
          </p:cNvSpPr>
          <p:nvPr>
            <p:ph type="pic" sz="quarter" idx="23"/>
          </p:nvPr>
        </p:nvSpPr>
        <p:spPr>
          <a:xfrm>
            <a:off x="9733197" y="0"/>
            <a:ext cx="4920779" cy="26103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4" name="Picture Placeholder 2">
            <a:extLst>
              <a:ext uri="{FF2B5EF4-FFF2-40B4-BE49-F238E27FC236}">
                <a16:creationId xmlns:a16="http://schemas.microsoft.com/office/drawing/2014/main" id="{491542C1-2977-A641-8C32-46637621356F}"/>
              </a:ext>
            </a:extLst>
          </p:cNvPr>
          <p:cNvSpPr>
            <a:spLocks noGrp="1"/>
          </p:cNvSpPr>
          <p:nvPr>
            <p:ph type="pic" sz="quarter" idx="24"/>
          </p:nvPr>
        </p:nvSpPr>
        <p:spPr>
          <a:xfrm>
            <a:off x="14599796"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5" name="Picture Placeholder 2">
            <a:extLst>
              <a:ext uri="{FF2B5EF4-FFF2-40B4-BE49-F238E27FC236}">
                <a16:creationId xmlns:a16="http://schemas.microsoft.com/office/drawing/2014/main" id="{DBBB3C77-3F96-CA47-AA0E-021AC52FCC75}"/>
              </a:ext>
            </a:extLst>
          </p:cNvPr>
          <p:cNvSpPr>
            <a:spLocks noGrp="1"/>
          </p:cNvSpPr>
          <p:nvPr>
            <p:ph type="pic" sz="quarter" idx="25"/>
          </p:nvPr>
        </p:nvSpPr>
        <p:spPr>
          <a:xfrm>
            <a:off x="19466396"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6" name="Текст 3">
            <a:extLst>
              <a:ext uri="{FF2B5EF4-FFF2-40B4-BE49-F238E27FC236}">
                <a16:creationId xmlns:a16="http://schemas.microsoft.com/office/drawing/2014/main" id="{B949DEAB-8436-5440-B6D2-C1C0F3D6A577}"/>
              </a:ext>
            </a:extLst>
          </p:cNvPr>
          <p:cNvSpPr>
            <a:spLocks noGrp="1"/>
          </p:cNvSpPr>
          <p:nvPr>
            <p:ph type="body" sz="quarter" idx="28" hasCustomPrompt="1"/>
          </p:nvPr>
        </p:nvSpPr>
        <p:spPr>
          <a:xfrm>
            <a:off x="427009" y="5593001"/>
            <a:ext cx="406675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7" name="Текст 3">
            <a:extLst>
              <a:ext uri="{FF2B5EF4-FFF2-40B4-BE49-F238E27FC236}">
                <a16:creationId xmlns:a16="http://schemas.microsoft.com/office/drawing/2014/main" id="{254F9BF4-EFD4-2C47-ACEB-58F425DC1733}"/>
              </a:ext>
            </a:extLst>
          </p:cNvPr>
          <p:cNvSpPr>
            <a:spLocks noGrp="1"/>
          </p:cNvSpPr>
          <p:nvPr>
            <p:ph type="body" sz="quarter" idx="29" hasCustomPrompt="1"/>
          </p:nvPr>
        </p:nvSpPr>
        <p:spPr>
          <a:xfrm>
            <a:off x="5411446"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8" name="Текст 3">
            <a:extLst>
              <a:ext uri="{FF2B5EF4-FFF2-40B4-BE49-F238E27FC236}">
                <a16:creationId xmlns:a16="http://schemas.microsoft.com/office/drawing/2014/main" id="{18E8B75F-B1AD-D948-B2D4-A3F7AA072F05}"/>
              </a:ext>
            </a:extLst>
          </p:cNvPr>
          <p:cNvSpPr>
            <a:spLocks noGrp="1"/>
          </p:cNvSpPr>
          <p:nvPr>
            <p:ph type="body" sz="quarter" idx="30" hasCustomPrompt="1"/>
          </p:nvPr>
        </p:nvSpPr>
        <p:spPr>
          <a:xfrm>
            <a:off x="10273358" y="3288745"/>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a:extLst>
              <a:ext uri="{FF2B5EF4-FFF2-40B4-BE49-F238E27FC236}">
                <a16:creationId xmlns:a16="http://schemas.microsoft.com/office/drawing/2014/main" id="{194F3FAD-9251-9B40-811A-FE79B7498887}"/>
              </a:ext>
            </a:extLst>
          </p:cNvPr>
          <p:cNvSpPr>
            <a:spLocks noGrp="1"/>
          </p:cNvSpPr>
          <p:nvPr>
            <p:ph type="body" sz="quarter" idx="31" hasCustomPrompt="1"/>
          </p:nvPr>
        </p:nvSpPr>
        <p:spPr>
          <a:xfrm>
            <a:off x="15060517"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2" name="Текст 3">
            <a:extLst>
              <a:ext uri="{FF2B5EF4-FFF2-40B4-BE49-F238E27FC236}">
                <a16:creationId xmlns:a16="http://schemas.microsoft.com/office/drawing/2014/main" id="{55C9719B-68F5-7E45-83CA-F81B0BC6B212}"/>
              </a:ext>
            </a:extLst>
          </p:cNvPr>
          <p:cNvSpPr>
            <a:spLocks noGrp="1"/>
          </p:cNvSpPr>
          <p:nvPr>
            <p:ph type="body" sz="quarter" idx="32" hasCustomPrompt="1"/>
          </p:nvPr>
        </p:nvSpPr>
        <p:spPr>
          <a:xfrm>
            <a:off x="19981297" y="5593001"/>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3" name="Picture Placeholder 2">
            <a:extLst>
              <a:ext uri="{FF2B5EF4-FFF2-40B4-BE49-F238E27FC236}">
                <a16:creationId xmlns:a16="http://schemas.microsoft.com/office/drawing/2014/main" id="{415DC59F-0568-CD4F-92AD-3316C62EBC78}"/>
              </a:ext>
            </a:extLst>
          </p:cNvPr>
          <p:cNvSpPr>
            <a:spLocks noGrp="1"/>
          </p:cNvSpPr>
          <p:nvPr>
            <p:ph type="pic" sz="quarter" idx="33"/>
          </p:nvPr>
        </p:nvSpPr>
        <p:spPr>
          <a:xfrm>
            <a:off x="0"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4" name="Picture Placeholder 2">
            <a:extLst>
              <a:ext uri="{FF2B5EF4-FFF2-40B4-BE49-F238E27FC236}">
                <a16:creationId xmlns:a16="http://schemas.microsoft.com/office/drawing/2014/main" id="{99669680-01D0-D043-A2B0-3674B605423A}"/>
              </a:ext>
            </a:extLst>
          </p:cNvPr>
          <p:cNvSpPr>
            <a:spLocks noGrp="1"/>
          </p:cNvSpPr>
          <p:nvPr>
            <p:ph type="pic" sz="quarter" idx="34"/>
          </p:nvPr>
        </p:nvSpPr>
        <p:spPr>
          <a:xfrm>
            <a:off x="4866599"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5" name="Picture Placeholder 2">
            <a:extLst>
              <a:ext uri="{FF2B5EF4-FFF2-40B4-BE49-F238E27FC236}">
                <a16:creationId xmlns:a16="http://schemas.microsoft.com/office/drawing/2014/main" id="{AA6C0467-BD47-7A49-8578-66A52AC7F265}"/>
              </a:ext>
            </a:extLst>
          </p:cNvPr>
          <p:cNvSpPr>
            <a:spLocks noGrp="1"/>
          </p:cNvSpPr>
          <p:nvPr>
            <p:ph type="pic" sz="quarter" idx="35"/>
          </p:nvPr>
        </p:nvSpPr>
        <p:spPr>
          <a:xfrm>
            <a:off x="9733197" y="6138714"/>
            <a:ext cx="4920779" cy="28803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6" name="Picture Placeholder 2">
            <a:extLst>
              <a:ext uri="{FF2B5EF4-FFF2-40B4-BE49-F238E27FC236}">
                <a16:creationId xmlns:a16="http://schemas.microsoft.com/office/drawing/2014/main" id="{4C3E5231-DF23-FB48-972A-9A9515C87E3C}"/>
              </a:ext>
            </a:extLst>
          </p:cNvPr>
          <p:cNvSpPr>
            <a:spLocks noGrp="1"/>
          </p:cNvSpPr>
          <p:nvPr>
            <p:ph type="pic" sz="quarter" idx="36"/>
          </p:nvPr>
        </p:nvSpPr>
        <p:spPr>
          <a:xfrm>
            <a:off x="14599797"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7" name="Picture Placeholder 2">
            <a:extLst>
              <a:ext uri="{FF2B5EF4-FFF2-40B4-BE49-F238E27FC236}">
                <a16:creationId xmlns:a16="http://schemas.microsoft.com/office/drawing/2014/main" id="{2324A6A8-2F09-5743-A577-3B2B24B6A57C}"/>
              </a:ext>
            </a:extLst>
          </p:cNvPr>
          <p:cNvSpPr>
            <a:spLocks noGrp="1"/>
          </p:cNvSpPr>
          <p:nvPr>
            <p:ph type="pic" sz="quarter" idx="37"/>
          </p:nvPr>
        </p:nvSpPr>
        <p:spPr>
          <a:xfrm>
            <a:off x="19466397"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8" name="Текст 3">
            <a:extLst>
              <a:ext uri="{FF2B5EF4-FFF2-40B4-BE49-F238E27FC236}">
                <a16:creationId xmlns:a16="http://schemas.microsoft.com/office/drawing/2014/main" id="{53FD9C7D-E49F-B24B-9CFA-F1ABDF7BB9FA}"/>
              </a:ext>
            </a:extLst>
          </p:cNvPr>
          <p:cNvSpPr>
            <a:spLocks noGrp="1"/>
          </p:cNvSpPr>
          <p:nvPr>
            <p:ph type="body" sz="quarter" idx="38" hasCustomPrompt="1"/>
          </p:nvPr>
        </p:nvSpPr>
        <p:spPr>
          <a:xfrm>
            <a:off x="427010" y="11425649"/>
            <a:ext cx="4066759"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9" name="Текст 3">
            <a:extLst>
              <a:ext uri="{FF2B5EF4-FFF2-40B4-BE49-F238E27FC236}">
                <a16:creationId xmlns:a16="http://schemas.microsoft.com/office/drawing/2014/main" id="{F02B033D-CD7E-2742-9333-52615BD94DAC}"/>
              </a:ext>
            </a:extLst>
          </p:cNvPr>
          <p:cNvSpPr>
            <a:spLocks noGrp="1"/>
          </p:cNvSpPr>
          <p:nvPr>
            <p:ph type="body" sz="quarter" idx="39" hasCustomPrompt="1"/>
          </p:nvPr>
        </p:nvSpPr>
        <p:spPr>
          <a:xfrm>
            <a:off x="5411447"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0" name="Текст 3">
            <a:extLst>
              <a:ext uri="{FF2B5EF4-FFF2-40B4-BE49-F238E27FC236}">
                <a16:creationId xmlns:a16="http://schemas.microsoft.com/office/drawing/2014/main" id="{1C977AD6-1F29-1548-A30D-0319C168E153}"/>
              </a:ext>
            </a:extLst>
          </p:cNvPr>
          <p:cNvSpPr>
            <a:spLocks noGrp="1"/>
          </p:cNvSpPr>
          <p:nvPr>
            <p:ph type="body" sz="quarter" idx="40" hasCustomPrompt="1"/>
          </p:nvPr>
        </p:nvSpPr>
        <p:spPr>
          <a:xfrm>
            <a:off x="10273359" y="9337417"/>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1" name="Текст 3">
            <a:extLst>
              <a:ext uri="{FF2B5EF4-FFF2-40B4-BE49-F238E27FC236}">
                <a16:creationId xmlns:a16="http://schemas.microsoft.com/office/drawing/2014/main" id="{A041D768-0826-2C4C-883C-ED7F4B838642}"/>
              </a:ext>
            </a:extLst>
          </p:cNvPr>
          <p:cNvSpPr>
            <a:spLocks noGrp="1"/>
          </p:cNvSpPr>
          <p:nvPr>
            <p:ph type="body" sz="quarter" idx="41" hasCustomPrompt="1"/>
          </p:nvPr>
        </p:nvSpPr>
        <p:spPr>
          <a:xfrm>
            <a:off x="15060518"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2" name="Текст 3">
            <a:extLst>
              <a:ext uri="{FF2B5EF4-FFF2-40B4-BE49-F238E27FC236}">
                <a16:creationId xmlns:a16="http://schemas.microsoft.com/office/drawing/2014/main" id="{93D7442E-1418-DD44-B677-E197D9DD4AB5}"/>
              </a:ext>
            </a:extLst>
          </p:cNvPr>
          <p:cNvSpPr>
            <a:spLocks noGrp="1"/>
          </p:cNvSpPr>
          <p:nvPr>
            <p:ph type="body" sz="quarter" idx="42" hasCustomPrompt="1"/>
          </p:nvPr>
        </p:nvSpPr>
        <p:spPr>
          <a:xfrm>
            <a:off x="19981298" y="11425649"/>
            <a:ext cx="3987220"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3" name="Picture Placeholder 2">
            <a:extLst>
              <a:ext uri="{FF2B5EF4-FFF2-40B4-BE49-F238E27FC236}">
                <a16:creationId xmlns:a16="http://schemas.microsoft.com/office/drawing/2014/main" id="{63B8FA0A-BA22-004E-9541-82AE27FA749E}"/>
              </a:ext>
            </a:extLst>
          </p:cNvPr>
          <p:cNvSpPr>
            <a:spLocks noGrp="1"/>
          </p:cNvSpPr>
          <p:nvPr>
            <p:ph type="pic" sz="quarter" idx="43"/>
          </p:nvPr>
        </p:nvSpPr>
        <p:spPr>
          <a:xfrm>
            <a:off x="9733197" y="11971361"/>
            <a:ext cx="4920779" cy="174622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378077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Mask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10897443" y="954138"/>
            <a:ext cx="11752703" cy="11492627"/>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0BED0C6-D3C2-8D42-9264-10BD147143F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6001536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Mask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1176363" y="2250282"/>
            <a:ext cx="11959698" cy="9931436"/>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300" b="1" dirty="0"/>
            </a:lvl1pPr>
          </a:lstStyle>
          <a:p>
            <a:pPr lvl="0" algn="ctr"/>
            <a:endParaRPr lang="en-US" sz="960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08141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9CB2EBB5-8607-DE48-857B-E8000EDFD97A}"/>
              </a:ext>
            </a:extLst>
          </p:cNvPr>
          <p:cNvSpPr>
            <a:spLocks/>
          </p:cNvSpPr>
          <p:nvPr userDrawn="1"/>
        </p:nvSpPr>
        <p:spPr bwMode="auto">
          <a:xfrm>
            <a:off x="-1271909" y="-269998"/>
            <a:ext cx="14185576" cy="11278833"/>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17341C5B-ED7B-0540-95B7-B22DAD3885E7}"/>
              </a:ext>
            </a:extLst>
          </p:cNvPr>
          <p:cNvSpPr>
            <a:spLocks noGrp="1"/>
          </p:cNvSpPr>
          <p:nvPr>
            <p:ph type="pic" sz="quarter" idx="33"/>
          </p:nvPr>
        </p:nvSpPr>
        <p:spPr>
          <a:xfrm>
            <a:off x="1464395" y="2898354"/>
            <a:ext cx="10867577" cy="9769211"/>
          </a:xfrm>
          <a:custGeom>
            <a:avLst/>
            <a:gdLst>
              <a:gd name="connsiteX0" fmla="*/ 6495245 w 10867577"/>
              <a:gd name="connsiteY0" fmla="*/ 178 h 9769211"/>
              <a:gd name="connsiteX1" fmla="*/ 10738510 w 10867577"/>
              <a:gd name="connsiteY1" fmla="*/ 3224348 h 9769211"/>
              <a:gd name="connsiteX2" fmla="*/ 7007275 w 10867577"/>
              <a:gd name="connsiteY2" fmla="*/ 7256632 h 9769211"/>
              <a:gd name="connsiteX3" fmla="*/ 1980741 w 10867577"/>
              <a:gd name="connsiteY3" fmla="*/ 8695698 h 9769211"/>
              <a:gd name="connsiteX4" fmla="*/ 18460 w 10867577"/>
              <a:gd name="connsiteY4" fmla="*/ 5358803 h 9769211"/>
              <a:gd name="connsiteX5" fmla="*/ 2265900 w 10867577"/>
              <a:gd name="connsiteY5" fmla="*/ 983654 h 9769211"/>
              <a:gd name="connsiteX6" fmla="*/ 6040634 w 10867577"/>
              <a:gd name="connsiteY6" fmla="*/ 8180 h 9769211"/>
              <a:gd name="connsiteX7" fmla="*/ 6495245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6495245" y="178"/>
                </a:moveTo>
                <a:cubicBezTo>
                  <a:pt x="11045924" y="-20988"/>
                  <a:pt x="11084990" y="1839609"/>
                  <a:pt x="10738510" y="3224348"/>
                </a:cubicBezTo>
                <a:cubicBezTo>
                  <a:pt x="10245523" y="5184956"/>
                  <a:pt x="6857445" y="4706877"/>
                  <a:pt x="7007275" y="7256632"/>
                </a:cubicBezTo>
                <a:cubicBezTo>
                  <a:pt x="7161937" y="9811216"/>
                  <a:pt x="4155684" y="10641818"/>
                  <a:pt x="1980741" y="8695698"/>
                </a:cubicBezTo>
                <a:cubicBezTo>
                  <a:pt x="617777" y="7473940"/>
                  <a:pt x="110291" y="6421200"/>
                  <a:pt x="18460" y="5358803"/>
                </a:cubicBezTo>
                <a:cubicBezTo>
                  <a:pt x="-141036" y="3596188"/>
                  <a:pt x="743441" y="1886692"/>
                  <a:pt x="2265900" y="983654"/>
                </a:cubicBezTo>
                <a:cubicBezTo>
                  <a:pt x="3135877" y="466942"/>
                  <a:pt x="4349012" y="61300"/>
                  <a:pt x="6040634" y="8180"/>
                </a:cubicBezTo>
                <a:cubicBezTo>
                  <a:pt x="6196958" y="3501"/>
                  <a:pt x="6348449" y="860"/>
                  <a:pt x="6495245"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551815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1+#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Mask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11329491" y="1818233"/>
            <a:ext cx="13041139" cy="11899355"/>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err="1"/>
              <a:t>sadsa</a:t>
            </a:r>
            <a:endParaRPr lang="en-US" sz="960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283406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Mask_4">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888331" y="4194498"/>
            <a:ext cx="12100011" cy="9163050"/>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E8E0002-2B15-F64B-A8D2-289AFEC0266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459446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Mask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10327241" y="2255335"/>
            <a:ext cx="13394281" cy="1119458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wrwq</a:t>
            </a:r>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DE5DD4C-FBC1-974D-94F7-5DAC99E05F7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8183645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Mask_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1464395" y="342070"/>
            <a:ext cx="9865096" cy="13033448"/>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sz="960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B4E808A-A6AF-2D40-8317-0A26551BFFB8}"/>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7397194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Mask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10959806" y="3546426"/>
            <a:ext cx="12611045" cy="9577063"/>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DA33B92-C2F2-484C-87A6-815024D6D59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742513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Mask_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960339" y="3258394"/>
            <a:ext cx="12457384" cy="1017116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E6ABDC64-C759-F54E-9172-5641F193DC1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69993262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Mask_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10897442" y="522090"/>
            <a:ext cx="12652719" cy="1291004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8331287-10E9-7E43-81AB-BCA1E614E2C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935081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Mask_1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1101387"/>
            <a:ext cx="12794238" cy="12594277"/>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43DE6135-C79E-6E4B-98DF-7542498E2B4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0448652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Mask_1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7939820" y="1462081"/>
            <a:ext cx="16417031" cy="12264008"/>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lvl1pPr>
          </a:lstStyle>
          <a:p>
            <a:pPr lvl="0" algn="ctr"/>
            <a:endParaRPr lang="ru-RU"/>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77B0EE05-B0A5-EC40-A578-412BE43CF362}"/>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166949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Mask_1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1725144" y="738114"/>
            <a:ext cx="10468443" cy="12979474"/>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r>
              <a:rPr lang="en-US" sz="9600" err="1"/>
              <a:t>jgh</a:t>
            </a:r>
            <a:endParaRPr lang="en-US" sz="960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CC81AA65-827E-C847-AFFA-58B4BD57F16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377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70C09E84-53C8-3442-87D8-905DF3CD21CD}"/>
              </a:ext>
            </a:extLst>
          </p:cNvPr>
          <p:cNvSpPr>
            <a:spLocks/>
          </p:cNvSpPr>
          <p:nvPr userDrawn="1"/>
        </p:nvSpPr>
        <p:spPr bwMode="auto">
          <a:xfrm rot="20168621" flipH="1">
            <a:off x="12239104" y="-138368"/>
            <a:ext cx="13193289" cy="10489874"/>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AF802D31-5D56-4841-B0D3-287F4D0DCCE7}"/>
              </a:ext>
            </a:extLst>
          </p:cNvPr>
          <p:cNvSpPr>
            <a:spLocks noGrp="1"/>
          </p:cNvSpPr>
          <p:nvPr>
            <p:ph type="pic" sz="quarter" idx="33"/>
          </p:nvPr>
        </p:nvSpPr>
        <p:spPr>
          <a:xfrm>
            <a:off x="12913667" y="3221487"/>
            <a:ext cx="10867577" cy="9769211"/>
          </a:xfrm>
          <a:custGeom>
            <a:avLst/>
            <a:gdLst>
              <a:gd name="connsiteX0" fmla="*/ 4372333 w 10867577"/>
              <a:gd name="connsiteY0" fmla="*/ 178 h 9769211"/>
              <a:gd name="connsiteX1" fmla="*/ 4826943 w 10867577"/>
              <a:gd name="connsiteY1" fmla="*/ 8179 h 9769211"/>
              <a:gd name="connsiteX2" fmla="*/ 8601677 w 10867577"/>
              <a:gd name="connsiteY2" fmla="*/ 983654 h 9769211"/>
              <a:gd name="connsiteX3" fmla="*/ 10849117 w 10867577"/>
              <a:gd name="connsiteY3" fmla="*/ 5358803 h 9769211"/>
              <a:gd name="connsiteX4" fmla="*/ 8886835 w 10867577"/>
              <a:gd name="connsiteY4" fmla="*/ 8695698 h 9769211"/>
              <a:gd name="connsiteX5" fmla="*/ 3860302 w 10867577"/>
              <a:gd name="connsiteY5" fmla="*/ 7256632 h 9769211"/>
              <a:gd name="connsiteX6" fmla="*/ 129067 w 10867577"/>
              <a:gd name="connsiteY6" fmla="*/ 3224348 h 9769211"/>
              <a:gd name="connsiteX7" fmla="*/ 4372333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4372333" y="178"/>
                </a:moveTo>
                <a:cubicBezTo>
                  <a:pt x="4519129" y="860"/>
                  <a:pt x="4670619" y="3501"/>
                  <a:pt x="4826943" y="8179"/>
                </a:cubicBezTo>
                <a:cubicBezTo>
                  <a:pt x="6518565" y="61299"/>
                  <a:pt x="7731699" y="466942"/>
                  <a:pt x="8601677" y="983654"/>
                </a:cubicBezTo>
                <a:cubicBezTo>
                  <a:pt x="10124137" y="1886692"/>
                  <a:pt x="11008613" y="3596188"/>
                  <a:pt x="10849117" y="5358803"/>
                </a:cubicBezTo>
                <a:cubicBezTo>
                  <a:pt x="10757287" y="6421200"/>
                  <a:pt x="10249799" y="7473940"/>
                  <a:pt x="8886835" y="8695698"/>
                </a:cubicBezTo>
                <a:cubicBezTo>
                  <a:pt x="6711893" y="10641818"/>
                  <a:pt x="3705639" y="9811216"/>
                  <a:pt x="3860302" y="7256632"/>
                </a:cubicBezTo>
                <a:cubicBezTo>
                  <a:pt x="4010131" y="4706877"/>
                  <a:pt x="622054" y="5184956"/>
                  <a:pt x="129067" y="3224348"/>
                </a:cubicBezTo>
                <a:cubicBezTo>
                  <a:pt x="-217413" y="1839609"/>
                  <a:pt x="-178346" y="-20988"/>
                  <a:pt x="4372333"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2535277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0-#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Mask_1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9673306" y="1386186"/>
            <a:ext cx="14712281" cy="12331402"/>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779CA6D-D5FA-FB4E-AEB9-FD81481CB41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531766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Mask_1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1234329" y="1386186"/>
            <a:ext cx="12183394" cy="11844786"/>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sdfs</a:t>
            </a:r>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00C0B1BF-37CE-864C-B646-B8C223C12ED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813874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Mask_1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11617524" y="1885338"/>
            <a:ext cx="10945216" cy="1183225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A851091-F99E-7443-ABC9-A55B06CF4145}"/>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8031342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Mask_1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1464395" y="1458194"/>
            <a:ext cx="13250265" cy="11858352"/>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solidFill>
                  <a:schemeClr val="lt1"/>
                </a:solidFill>
              </a:defRPr>
            </a:lvl1pPr>
          </a:lstStyle>
          <a:p>
            <a:pPr lvl="0" algn="ctr"/>
            <a:endParaRPr lang="en-US" sz="9600"/>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8DAD44E2-90DC-BA44-819D-EDEE8F449F90}"/>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8768343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Mask_1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10681419" y="954138"/>
            <a:ext cx="12889432" cy="12763450"/>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37EDB8B-1B3A-2F46-AE3A-E5E59CFB464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346689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Mask_1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816323" y="378074"/>
            <a:ext cx="12097344" cy="1296402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DCE50042-4F10-CA4A-876D-E4F12528ABF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656059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Mask_1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11329491" y="1242170"/>
            <a:ext cx="12313368" cy="12475418"/>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96DD735-2888-C344-B11F-89C2735BC75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864640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Mask_2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13890" y="1602210"/>
            <a:ext cx="14195920" cy="1211537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98FCDC5-0EFE-6245-963B-64B45F3B89E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598741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Mask_2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10177363" y="2538314"/>
            <a:ext cx="13417723" cy="11179274"/>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332008D6-AC00-4E4A-A037-23F8B520629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04582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Mask_2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456283" y="590747"/>
            <a:ext cx="12522333" cy="1312684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sdfdsf</a:t>
            </a:r>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EEB4F78-4E75-6344-AFF9-A3444C626DD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5310038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5F78078C-E3BA-EA44-80EB-639AAD0453EB}"/>
              </a:ext>
            </a:extLst>
          </p:cNvPr>
          <p:cNvSpPr>
            <a:spLocks/>
          </p:cNvSpPr>
          <p:nvPr userDrawn="1"/>
        </p:nvSpPr>
        <p:spPr bwMode="auto">
          <a:xfrm rot="10800000">
            <a:off x="384275" y="4698554"/>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84BE4237-D403-C648-82FF-20997C078479}"/>
              </a:ext>
            </a:extLst>
          </p:cNvPr>
          <p:cNvSpPr>
            <a:spLocks noGrp="1"/>
          </p:cNvSpPr>
          <p:nvPr>
            <p:ph type="pic" sz="quarter" idx="33"/>
          </p:nvPr>
        </p:nvSpPr>
        <p:spPr>
          <a:xfrm>
            <a:off x="1979251" y="977062"/>
            <a:ext cx="10851606" cy="10584895"/>
          </a:xfrm>
          <a:custGeom>
            <a:avLst/>
            <a:gdLst>
              <a:gd name="connsiteX0" fmla="*/ 7930029 w 9865096"/>
              <a:gd name="connsiteY0" fmla="*/ 910 h 9622632"/>
              <a:gd name="connsiteX1" fmla="*/ 8234115 w 9865096"/>
              <a:gd name="connsiteY1" fmla="*/ 43653 h 9622632"/>
              <a:gd name="connsiteX2" fmla="*/ 9301962 w 9865096"/>
              <a:gd name="connsiteY2" fmla="*/ 1581396 h 9622632"/>
              <a:gd name="connsiteX3" fmla="*/ 8962193 w 9865096"/>
              <a:gd name="connsiteY3" fmla="*/ 2350269 h 9622632"/>
              <a:gd name="connsiteX4" fmla="*/ 8806870 w 9865096"/>
              <a:gd name="connsiteY4" fmla="*/ 3147973 h 9622632"/>
              <a:gd name="connsiteX5" fmla="*/ 9243716 w 9865096"/>
              <a:gd name="connsiteY5" fmla="*/ 3638129 h 9622632"/>
              <a:gd name="connsiteX6" fmla="*/ 9855301 w 9865096"/>
              <a:gd name="connsiteY6" fmla="*/ 4464667 h 9622632"/>
              <a:gd name="connsiteX7" fmla="*/ 9156347 w 9865096"/>
              <a:gd name="connsiteY7" fmla="*/ 5617976 h 9622632"/>
              <a:gd name="connsiteX8" fmla="*/ 7904055 w 9865096"/>
              <a:gd name="connsiteY8" fmla="*/ 5252762 h 9622632"/>
              <a:gd name="connsiteX9" fmla="*/ 7748731 w 9865096"/>
              <a:gd name="connsiteY9" fmla="*/ 5204707 h 9622632"/>
              <a:gd name="connsiteX10" fmla="*/ 7661361 w 9865096"/>
              <a:gd name="connsiteY10" fmla="*/ 5339260 h 9622632"/>
              <a:gd name="connsiteX11" fmla="*/ 5195608 w 9865096"/>
              <a:gd name="connsiteY11" fmla="*/ 9375838 h 9622632"/>
              <a:gd name="connsiteX12" fmla="*/ 254391 w 9865096"/>
              <a:gd name="connsiteY12" fmla="*/ 7184552 h 9622632"/>
              <a:gd name="connsiteX13" fmla="*/ 2467745 w 9865096"/>
              <a:gd name="connsiteY13" fmla="*/ 2263770 h 9622632"/>
              <a:gd name="connsiteX14" fmla="*/ 5215023 w 9865096"/>
              <a:gd name="connsiteY14" fmla="*/ 2254160 h 9622632"/>
              <a:gd name="connsiteX15" fmla="*/ 5710116 w 9865096"/>
              <a:gd name="connsiteY15" fmla="*/ 2302214 h 9622632"/>
              <a:gd name="connsiteX16" fmla="*/ 6438191 w 9865096"/>
              <a:gd name="connsiteY16" fmla="*/ 1427622 h 9622632"/>
              <a:gd name="connsiteX17" fmla="*/ 6457607 w 9865096"/>
              <a:gd name="connsiteY17" fmla="*/ 1168127 h 9622632"/>
              <a:gd name="connsiteX18" fmla="*/ 7930029 w 9865096"/>
              <a:gd name="connsiteY18" fmla="*/ 910 h 962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65096" h="9622632">
                <a:moveTo>
                  <a:pt x="7930029" y="910"/>
                </a:moveTo>
                <a:cubicBezTo>
                  <a:pt x="8030405" y="4458"/>
                  <a:pt x="8132185" y="18423"/>
                  <a:pt x="8234115" y="43653"/>
                </a:cubicBezTo>
                <a:cubicBezTo>
                  <a:pt x="8923362" y="216649"/>
                  <a:pt x="9379624" y="879800"/>
                  <a:pt x="9301962" y="1581396"/>
                </a:cubicBezTo>
                <a:cubicBezTo>
                  <a:pt x="9263132" y="1879334"/>
                  <a:pt x="9146639" y="2138829"/>
                  <a:pt x="8962193" y="2350269"/>
                </a:cubicBezTo>
                <a:cubicBezTo>
                  <a:pt x="8777746" y="2571319"/>
                  <a:pt x="8709793" y="2869257"/>
                  <a:pt x="8806870" y="3147973"/>
                </a:cubicBezTo>
                <a:cubicBezTo>
                  <a:pt x="8874824" y="3369024"/>
                  <a:pt x="9030147" y="3542020"/>
                  <a:pt x="9243716" y="3638129"/>
                </a:cubicBezTo>
                <a:cubicBezTo>
                  <a:pt x="9554362" y="3791904"/>
                  <a:pt x="9797055" y="4089842"/>
                  <a:pt x="9855301" y="4464667"/>
                </a:cubicBezTo>
                <a:cubicBezTo>
                  <a:pt x="9923255" y="4964434"/>
                  <a:pt x="9632023" y="5444980"/>
                  <a:pt x="9156347" y="5617976"/>
                </a:cubicBezTo>
                <a:cubicBezTo>
                  <a:pt x="8680670" y="5790972"/>
                  <a:pt x="8175869" y="5617976"/>
                  <a:pt x="7904055" y="5252762"/>
                </a:cubicBezTo>
                <a:cubicBezTo>
                  <a:pt x="7865223" y="5204707"/>
                  <a:pt x="7806978" y="5185485"/>
                  <a:pt x="7748731" y="5204707"/>
                </a:cubicBezTo>
                <a:cubicBezTo>
                  <a:pt x="7690485" y="5223929"/>
                  <a:pt x="7651655" y="5281594"/>
                  <a:pt x="7661361" y="5339260"/>
                </a:cubicBezTo>
                <a:cubicBezTo>
                  <a:pt x="7874931" y="7050000"/>
                  <a:pt x="6894454" y="8751130"/>
                  <a:pt x="5195608" y="9375838"/>
                </a:cubicBezTo>
                <a:cubicBezTo>
                  <a:pt x="3215238" y="10115877"/>
                  <a:pt x="1011590" y="9135566"/>
                  <a:pt x="254391" y="7184552"/>
                </a:cubicBezTo>
                <a:cubicBezTo>
                  <a:pt x="-502810" y="5233540"/>
                  <a:pt x="487376" y="3013420"/>
                  <a:pt x="2467745" y="2263770"/>
                </a:cubicBezTo>
                <a:cubicBezTo>
                  <a:pt x="3389976" y="1908167"/>
                  <a:pt x="4360746" y="1937000"/>
                  <a:pt x="5215023" y="2254160"/>
                </a:cubicBezTo>
                <a:cubicBezTo>
                  <a:pt x="5370346" y="2311825"/>
                  <a:pt x="5545085" y="2331047"/>
                  <a:pt x="5710116" y="2302214"/>
                </a:cubicBezTo>
                <a:cubicBezTo>
                  <a:pt x="6127545" y="2215716"/>
                  <a:pt x="6438191" y="1850502"/>
                  <a:pt x="6438191" y="1427622"/>
                </a:cubicBezTo>
                <a:cubicBezTo>
                  <a:pt x="6438191" y="1341124"/>
                  <a:pt x="6447899" y="1254626"/>
                  <a:pt x="6457607" y="1168127"/>
                </a:cubicBezTo>
                <a:cubicBezTo>
                  <a:pt x="6593515" y="461726"/>
                  <a:pt x="7227398" y="-23924"/>
                  <a:pt x="7930029" y="91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0B46A162-9133-8F43-96D7-A0AF555214E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500720-635B-314A-B1DC-EF82679AEAC1}"/>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29427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Mask_2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9025235" y="522089"/>
            <a:ext cx="14855263" cy="13195499"/>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A9B67FCA-F0A1-F545-9DEE-A27D94FD15D6}"/>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2557916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Mask_24">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1098154"/>
            <a:ext cx="11905556" cy="13200402"/>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C4A10A96-9916-4C48-A582-4B241073FA9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6149107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Mask_2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10968658" y="738114"/>
            <a:ext cx="12889432" cy="12979474"/>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5F0B0224-CB8A-A94E-B05C-AAC6199AEAE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691039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Mask_26">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600300" y="4194498"/>
            <a:ext cx="12385376" cy="7742742"/>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5B294B95-F05E-DA4E-A653-E11222804D8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12961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Mask_27">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1"/>
            <a:ext cx="24385588" cy="13717588"/>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6FBCBB0E-34F5-9A41-BD7A-F0219CB9667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47583024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Mask_28">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1170162"/>
            <a:ext cx="24385588" cy="12542812"/>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CA6BA21-48D5-9F42-9705-75F2F35303B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35405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Mask_29">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21195" y="2203971"/>
            <a:ext cx="24363003" cy="11469886"/>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64251C8-9D64-7148-9675-CCC4AAAE4F7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9722431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Mask_30">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24385588" cy="13717587"/>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BC8380BE-E36D-2F4A-BA7F-9DD46F27272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033244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Mask_31">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1608410" y="522089"/>
            <a:ext cx="22777178" cy="13195499"/>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A7E8AD09-ACEE-2646-9451-C50664073E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661824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Mask_3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1026146"/>
            <a:ext cx="14757177" cy="10441160"/>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CBBC38F-CDEA-1243-A56C-19757FE7291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168138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28EE4997-C883-474E-9BD1-FB4DC1C38428}"/>
              </a:ext>
            </a:extLst>
          </p:cNvPr>
          <p:cNvSpPr>
            <a:spLocks/>
          </p:cNvSpPr>
          <p:nvPr userDrawn="1"/>
        </p:nvSpPr>
        <p:spPr bwMode="auto">
          <a:xfrm>
            <a:off x="12470818" y="1003221"/>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77661278-F09C-C146-978C-183B8C1ED93E}"/>
              </a:ext>
            </a:extLst>
          </p:cNvPr>
          <p:cNvSpPr>
            <a:spLocks noGrp="1"/>
          </p:cNvSpPr>
          <p:nvPr>
            <p:ph type="pic" sz="quarter" idx="33"/>
          </p:nvPr>
        </p:nvSpPr>
        <p:spPr>
          <a:xfrm>
            <a:off x="11185475" y="2610322"/>
            <a:ext cx="10851607" cy="10584894"/>
          </a:xfrm>
          <a:custGeom>
            <a:avLst/>
            <a:gdLst>
              <a:gd name="connsiteX0" fmla="*/ 5983681 w 9865097"/>
              <a:gd name="connsiteY0" fmla="*/ 260 h 9622631"/>
              <a:gd name="connsiteX1" fmla="*/ 9610705 w 9865097"/>
              <a:gd name="connsiteY1" fmla="*/ 2438079 h 9622631"/>
              <a:gd name="connsiteX2" fmla="*/ 7397351 w 9865097"/>
              <a:gd name="connsiteY2" fmla="*/ 7358861 h 9622631"/>
              <a:gd name="connsiteX3" fmla="*/ 4650073 w 9865097"/>
              <a:gd name="connsiteY3" fmla="*/ 7368471 h 9622631"/>
              <a:gd name="connsiteX4" fmla="*/ 4154981 w 9865097"/>
              <a:gd name="connsiteY4" fmla="*/ 7320417 h 9622631"/>
              <a:gd name="connsiteX5" fmla="*/ 3426905 w 9865097"/>
              <a:gd name="connsiteY5" fmla="*/ 8195009 h 9622631"/>
              <a:gd name="connsiteX6" fmla="*/ 3407489 w 9865097"/>
              <a:gd name="connsiteY6" fmla="*/ 8454504 h 9622631"/>
              <a:gd name="connsiteX7" fmla="*/ 1935067 w 9865097"/>
              <a:gd name="connsiteY7" fmla="*/ 9621721 h 9622631"/>
              <a:gd name="connsiteX8" fmla="*/ 1630981 w 9865097"/>
              <a:gd name="connsiteY8" fmla="*/ 9578979 h 9622631"/>
              <a:gd name="connsiteX9" fmla="*/ 563134 w 9865097"/>
              <a:gd name="connsiteY9" fmla="*/ 8041234 h 9622631"/>
              <a:gd name="connsiteX10" fmla="*/ 902903 w 9865097"/>
              <a:gd name="connsiteY10" fmla="*/ 7272362 h 9622631"/>
              <a:gd name="connsiteX11" fmla="*/ 1058226 w 9865097"/>
              <a:gd name="connsiteY11" fmla="*/ 6474658 h 9622631"/>
              <a:gd name="connsiteX12" fmla="*/ 621380 w 9865097"/>
              <a:gd name="connsiteY12" fmla="*/ 5984502 h 9622631"/>
              <a:gd name="connsiteX13" fmla="*/ 9795 w 9865097"/>
              <a:gd name="connsiteY13" fmla="*/ 5157964 h 9622631"/>
              <a:gd name="connsiteX14" fmla="*/ 708749 w 9865097"/>
              <a:gd name="connsiteY14" fmla="*/ 4004655 h 9622631"/>
              <a:gd name="connsiteX15" fmla="*/ 1961041 w 9865097"/>
              <a:gd name="connsiteY15" fmla="*/ 4369870 h 9622631"/>
              <a:gd name="connsiteX16" fmla="*/ 2116365 w 9865097"/>
              <a:gd name="connsiteY16" fmla="*/ 4417925 h 9622631"/>
              <a:gd name="connsiteX17" fmla="*/ 2203735 w 9865097"/>
              <a:gd name="connsiteY17" fmla="*/ 4283372 h 9622631"/>
              <a:gd name="connsiteX18" fmla="*/ 4669489 w 9865097"/>
              <a:gd name="connsiteY18" fmla="*/ 246793 h 9622631"/>
              <a:gd name="connsiteX19" fmla="*/ 5983681 w 9865097"/>
              <a:gd name="connsiteY19" fmla="*/ 260 h 9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5097" h="9622631">
                <a:moveTo>
                  <a:pt x="5983681" y="260"/>
                </a:moveTo>
                <a:cubicBezTo>
                  <a:pt x="7544739" y="-17910"/>
                  <a:pt x="9019143" y="913849"/>
                  <a:pt x="9610705" y="2438079"/>
                </a:cubicBezTo>
                <a:cubicBezTo>
                  <a:pt x="10367907" y="4389091"/>
                  <a:pt x="9377721" y="6609211"/>
                  <a:pt x="7397351" y="7358861"/>
                </a:cubicBezTo>
                <a:cubicBezTo>
                  <a:pt x="6475121" y="7714464"/>
                  <a:pt x="5504351" y="7685632"/>
                  <a:pt x="4650073" y="7368471"/>
                </a:cubicBezTo>
                <a:cubicBezTo>
                  <a:pt x="4494751" y="7310806"/>
                  <a:pt x="4320011" y="7291584"/>
                  <a:pt x="4154981" y="7320417"/>
                </a:cubicBezTo>
                <a:cubicBezTo>
                  <a:pt x="3737551" y="7406915"/>
                  <a:pt x="3426905" y="7772129"/>
                  <a:pt x="3426905" y="8195009"/>
                </a:cubicBezTo>
                <a:cubicBezTo>
                  <a:pt x="3426905" y="8281507"/>
                  <a:pt x="3417197" y="8368005"/>
                  <a:pt x="3407489" y="8454504"/>
                </a:cubicBezTo>
                <a:cubicBezTo>
                  <a:pt x="3271581" y="9160905"/>
                  <a:pt x="2637698" y="9646555"/>
                  <a:pt x="1935067" y="9621721"/>
                </a:cubicBezTo>
                <a:cubicBezTo>
                  <a:pt x="1834691" y="9618173"/>
                  <a:pt x="1732911" y="9604208"/>
                  <a:pt x="1630981" y="9578979"/>
                </a:cubicBezTo>
                <a:cubicBezTo>
                  <a:pt x="941734" y="9405982"/>
                  <a:pt x="485472" y="8742831"/>
                  <a:pt x="563134" y="8041234"/>
                </a:cubicBezTo>
                <a:cubicBezTo>
                  <a:pt x="601964" y="7743297"/>
                  <a:pt x="718457" y="7483802"/>
                  <a:pt x="902903" y="7272362"/>
                </a:cubicBezTo>
                <a:cubicBezTo>
                  <a:pt x="1087350" y="7051312"/>
                  <a:pt x="1155303" y="6753374"/>
                  <a:pt x="1058226" y="6474658"/>
                </a:cubicBezTo>
                <a:cubicBezTo>
                  <a:pt x="990272" y="6253607"/>
                  <a:pt x="834949" y="6080611"/>
                  <a:pt x="621380" y="5984502"/>
                </a:cubicBezTo>
                <a:cubicBezTo>
                  <a:pt x="310734" y="5830728"/>
                  <a:pt x="68041" y="5532789"/>
                  <a:pt x="9795" y="5157964"/>
                </a:cubicBezTo>
                <a:cubicBezTo>
                  <a:pt x="-58159" y="4658198"/>
                  <a:pt x="233073" y="4177652"/>
                  <a:pt x="708749" y="4004655"/>
                </a:cubicBezTo>
                <a:cubicBezTo>
                  <a:pt x="1184426" y="3831659"/>
                  <a:pt x="1689227" y="4004655"/>
                  <a:pt x="1961041" y="4369870"/>
                </a:cubicBezTo>
                <a:cubicBezTo>
                  <a:pt x="1999873" y="4417925"/>
                  <a:pt x="2058118" y="4437146"/>
                  <a:pt x="2116365" y="4417925"/>
                </a:cubicBezTo>
                <a:cubicBezTo>
                  <a:pt x="2174611" y="4398703"/>
                  <a:pt x="2213441" y="4341037"/>
                  <a:pt x="2203735" y="4283372"/>
                </a:cubicBezTo>
                <a:cubicBezTo>
                  <a:pt x="1990165" y="2572632"/>
                  <a:pt x="2970642" y="871501"/>
                  <a:pt x="4669489" y="246793"/>
                </a:cubicBezTo>
                <a:cubicBezTo>
                  <a:pt x="5102695" y="84910"/>
                  <a:pt x="5546585" y="5347"/>
                  <a:pt x="5983681" y="26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66FA4043-CBE4-8941-B530-C44AF37A3D5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8F59204-34CC-6F48-A3E6-7DE4F08771BB}"/>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6471699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Mask_3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10825434" y="810122"/>
            <a:ext cx="13191533" cy="13285540"/>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8FE8740-251C-CC42-AE01-EC7B147CD97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921348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Mask_34">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2760539" y="738114"/>
            <a:ext cx="8280920" cy="12457384"/>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54EEE84-E6C0-034E-B916-971E20AC77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6391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Mask_3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11905555" y="1098154"/>
            <a:ext cx="11161240" cy="12313368"/>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1FBEC5CA-5997-7F43-A24F-3A9C1E6E653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611065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Mask_3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744315" y="1602210"/>
            <a:ext cx="12458177" cy="11112526"/>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C65232DA-9EDB-DC4F-9E25-9AF7653426F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34201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Mask_3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13489731" y="537487"/>
            <a:ext cx="7344816" cy="13195498"/>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0F172AA3-0043-154D-AF85-5CA4139DAAF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400510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Mask_3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32962" y="1314178"/>
            <a:ext cx="12100011" cy="12043370"/>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F4FF2426-61ED-A941-B1B3-3FF624BC4AC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504401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Mask_3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10897443" y="4266506"/>
            <a:ext cx="12100011" cy="7146826"/>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1">
            <a:extLst>
              <a:ext uri="{FF2B5EF4-FFF2-40B4-BE49-F238E27FC236}">
                <a16:creationId xmlns:a16="http://schemas.microsoft.com/office/drawing/2014/main" id="{3A43DDEA-BAE9-1142-89AE-86805BE9E7F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231635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Mask_4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12625635" y="882130"/>
            <a:ext cx="10513168" cy="12152125"/>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7CB5170D-98EB-A44E-B755-E6D370DB11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860029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Mask_41">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600299" y="1602210"/>
            <a:ext cx="12601400" cy="10657184"/>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7D7C94F6-D00E-0B4E-ACBE-AD1BD05361F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972907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Mask_4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10661335" y="2610322"/>
            <a:ext cx="13753528" cy="9775861"/>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694DD316-533C-AE45-A9DF-D3873ECD23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00533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512F75C3-F085-AA47-8CE6-1155885CDCE6}"/>
              </a:ext>
            </a:extLst>
          </p:cNvPr>
          <p:cNvSpPr>
            <a:spLocks/>
          </p:cNvSpPr>
          <p:nvPr userDrawn="1"/>
        </p:nvSpPr>
        <p:spPr bwMode="auto">
          <a:xfrm>
            <a:off x="384507" y="780474"/>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0361D707-F6EA-C641-A648-A78FEEB86234}"/>
              </a:ext>
            </a:extLst>
          </p:cNvPr>
          <p:cNvSpPr>
            <a:spLocks noGrp="1"/>
          </p:cNvSpPr>
          <p:nvPr>
            <p:ph type="pic" sz="quarter" idx="33"/>
          </p:nvPr>
        </p:nvSpPr>
        <p:spPr>
          <a:xfrm>
            <a:off x="1536403" y="1315906"/>
            <a:ext cx="9966329" cy="11041146"/>
          </a:xfrm>
          <a:custGeom>
            <a:avLst/>
            <a:gdLst>
              <a:gd name="connsiteX0" fmla="*/ 6616192 w 9966329"/>
              <a:gd name="connsiteY0" fmla="*/ 3527 h 11041146"/>
              <a:gd name="connsiteX1" fmla="*/ 9192109 w 9966329"/>
              <a:gd name="connsiteY1" fmla="*/ 2577452 h 11041146"/>
              <a:gd name="connsiteX2" fmla="*/ 6751512 w 9966329"/>
              <a:gd name="connsiteY2" fmla="*/ 4885775 h 11041146"/>
              <a:gd name="connsiteX3" fmla="*/ 6456708 w 9966329"/>
              <a:gd name="connsiteY3" fmla="*/ 4866459 h 11041146"/>
              <a:gd name="connsiteX4" fmla="*/ 6176401 w 9966329"/>
              <a:gd name="connsiteY4" fmla="*/ 4934066 h 11041146"/>
              <a:gd name="connsiteX5" fmla="*/ 6045914 w 9966329"/>
              <a:gd name="connsiteY5" fmla="*/ 5513562 h 11041146"/>
              <a:gd name="connsiteX6" fmla="*/ 6529200 w 9966329"/>
              <a:gd name="connsiteY6" fmla="*/ 6947813 h 11041146"/>
              <a:gd name="connsiteX7" fmla="*/ 6795008 w 9966329"/>
              <a:gd name="connsiteY7" fmla="*/ 7450043 h 11041146"/>
              <a:gd name="connsiteX8" fmla="*/ 6799841 w 9966329"/>
              <a:gd name="connsiteY8" fmla="*/ 7454871 h 11041146"/>
              <a:gd name="connsiteX9" fmla="*/ 7539269 w 9966329"/>
              <a:gd name="connsiteY9" fmla="*/ 7575599 h 11041146"/>
              <a:gd name="connsiteX10" fmla="*/ 8172374 w 9966329"/>
              <a:gd name="connsiteY10" fmla="*/ 7459701 h 11041146"/>
              <a:gd name="connsiteX11" fmla="*/ 9946036 w 9966329"/>
              <a:gd name="connsiteY11" fmla="*/ 9521738 h 11041146"/>
              <a:gd name="connsiteX12" fmla="*/ 8423683 w 9966329"/>
              <a:gd name="connsiteY12" fmla="*/ 11023597 h 11041146"/>
              <a:gd name="connsiteX13" fmla="*/ 6978657 w 9966329"/>
              <a:gd name="connsiteY13" fmla="*/ 10584146 h 11041146"/>
              <a:gd name="connsiteX14" fmla="*/ 6021750 w 9966329"/>
              <a:gd name="connsiteY14" fmla="*/ 10086746 h 11041146"/>
              <a:gd name="connsiteX15" fmla="*/ 6007251 w 9966329"/>
              <a:gd name="connsiteY15" fmla="*/ 10086746 h 11041146"/>
              <a:gd name="connsiteX16" fmla="*/ 4620219 w 9966329"/>
              <a:gd name="connsiteY16" fmla="*/ 10221962 h 11041146"/>
              <a:gd name="connsiteX17" fmla="*/ 3286348 w 9966329"/>
              <a:gd name="connsiteY17" fmla="*/ 10511709 h 11041146"/>
              <a:gd name="connsiteX18" fmla="*/ 0 w 9966329"/>
              <a:gd name="connsiteY18" fmla="*/ 7247219 h 11041146"/>
              <a:gd name="connsiteX19" fmla="*/ 3271850 w 9966329"/>
              <a:gd name="connsiteY19" fmla="*/ 3973070 h 11041146"/>
              <a:gd name="connsiteX20" fmla="*/ 3803465 w 9966329"/>
              <a:gd name="connsiteY20" fmla="*/ 4016532 h 11041146"/>
              <a:gd name="connsiteX21" fmla="*/ 4170762 w 9966329"/>
              <a:gd name="connsiteY21" fmla="*/ 3958583 h 11041146"/>
              <a:gd name="connsiteX22" fmla="*/ 4446236 w 9966329"/>
              <a:gd name="connsiteY22" fmla="*/ 3248701 h 11041146"/>
              <a:gd name="connsiteX23" fmla="*/ 4306083 w 9966329"/>
              <a:gd name="connsiteY23" fmla="*/ 2442237 h 11041146"/>
              <a:gd name="connsiteX24" fmla="*/ 6616192 w 9966329"/>
              <a:gd name="connsiteY24" fmla="*/ 3527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6329" h="11041146">
                <a:moveTo>
                  <a:pt x="6616192" y="3527"/>
                </a:moveTo>
                <a:cubicBezTo>
                  <a:pt x="8066051" y="-73739"/>
                  <a:pt x="9269435" y="1128714"/>
                  <a:pt x="9192109" y="2577452"/>
                </a:cubicBezTo>
                <a:cubicBezTo>
                  <a:pt x="9119616" y="3862000"/>
                  <a:pt x="8056385" y="4885775"/>
                  <a:pt x="6751512" y="4885775"/>
                </a:cubicBezTo>
                <a:cubicBezTo>
                  <a:pt x="6650022" y="4885775"/>
                  <a:pt x="6553365" y="4876117"/>
                  <a:pt x="6456708" y="4866459"/>
                </a:cubicBezTo>
                <a:cubicBezTo>
                  <a:pt x="6355217" y="4851971"/>
                  <a:pt x="6258560" y="4876117"/>
                  <a:pt x="6176401" y="4934066"/>
                </a:cubicBezTo>
                <a:cubicBezTo>
                  <a:pt x="5983087" y="5059624"/>
                  <a:pt x="5925092" y="5315568"/>
                  <a:pt x="6045914" y="5513562"/>
                </a:cubicBezTo>
                <a:cubicBezTo>
                  <a:pt x="6311722" y="5938525"/>
                  <a:pt x="6480872" y="6426267"/>
                  <a:pt x="6529200" y="6947813"/>
                </a:cubicBezTo>
                <a:cubicBezTo>
                  <a:pt x="6548532" y="7145807"/>
                  <a:pt x="6640356" y="7324485"/>
                  <a:pt x="6795008" y="7450043"/>
                </a:cubicBezTo>
                <a:cubicBezTo>
                  <a:pt x="6795008" y="7450043"/>
                  <a:pt x="6795008" y="7450043"/>
                  <a:pt x="6799841" y="7454871"/>
                </a:cubicBezTo>
                <a:cubicBezTo>
                  <a:pt x="7002821" y="7623891"/>
                  <a:pt x="7287960" y="7672182"/>
                  <a:pt x="7539269" y="7575599"/>
                </a:cubicBezTo>
                <a:cubicBezTo>
                  <a:pt x="7737417" y="7498333"/>
                  <a:pt x="7950063" y="7459701"/>
                  <a:pt x="8172374" y="7459701"/>
                </a:cubicBezTo>
                <a:cubicBezTo>
                  <a:pt x="9254936" y="7459701"/>
                  <a:pt x="10110353" y="8411039"/>
                  <a:pt x="9946036" y="9521738"/>
                </a:cubicBezTo>
                <a:cubicBezTo>
                  <a:pt x="9839713" y="10246107"/>
                  <a:pt x="9148613" y="10927014"/>
                  <a:pt x="8423683" y="11023597"/>
                </a:cubicBezTo>
                <a:cubicBezTo>
                  <a:pt x="7867904" y="11100863"/>
                  <a:pt x="7350787" y="10917356"/>
                  <a:pt x="6978657" y="10584146"/>
                </a:cubicBezTo>
                <a:cubicBezTo>
                  <a:pt x="6703184" y="10342690"/>
                  <a:pt x="6374549" y="10168841"/>
                  <a:pt x="6021750" y="10086746"/>
                </a:cubicBezTo>
                <a:cubicBezTo>
                  <a:pt x="6021750" y="10086746"/>
                  <a:pt x="6021750" y="10086746"/>
                  <a:pt x="6007251" y="10086746"/>
                </a:cubicBezTo>
                <a:cubicBezTo>
                  <a:pt x="5543296" y="9980505"/>
                  <a:pt x="5055177" y="10023967"/>
                  <a:pt x="4620219" y="10221962"/>
                </a:cubicBezTo>
                <a:cubicBezTo>
                  <a:pt x="4214258" y="10405469"/>
                  <a:pt x="3759969" y="10506880"/>
                  <a:pt x="3286348" y="10511709"/>
                </a:cubicBezTo>
                <a:cubicBezTo>
                  <a:pt x="1478857" y="10516539"/>
                  <a:pt x="4833" y="9053313"/>
                  <a:pt x="0" y="7247219"/>
                </a:cubicBezTo>
                <a:cubicBezTo>
                  <a:pt x="0" y="5441125"/>
                  <a:pt x="1464358" y="3973070"/>
                  <a:pt x="3271850" y="3973070"/>
                </a:cubicBezTo>
                <a:cubicBezTo>
                  <a:pt x="3450666" y="3973070"/>
                  <a:pt x="3629482" y="3987557"/>
                  <a:pt x="3803465" y="4016532"/>
                </a:cubicBezTo>
                <a:cubicBezTo>
                  <a:pt x="3929119" y="4035849"/>
                  <a:pt x="4054774" y="4016532"/>
                  <a:pt x="4170762" y="3958583"/>
                </a:cubicBezTo>
                <a:cubicBezTo>
                  <a:pt x="4422071" y="3823367"/>
                  <a:pt x="4538060" y="3519132"/>
                  <a:pt x="4446236" y="3248701"/>
                </a:cubicBezTo>
                <a:cubicBezTo>
                  <a:pt x="4354411" y="2997586"/>
                  <a:pt x="4306083" y="2727155"/>
                  <a:pt x="4306083" y="2442237"/>
                </a:cubicBezTo>
                <a:cubicBezTo>
                  <a:pt x="4306083" y="1138372"/>
                  <a:pt x="5330650" y="75964"/>
                  <a:pt x="6616192" y="352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CAAD1531-DB03-214B-A199-FAE069B6D95A}"/>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4DCAF9B3-8D39-3845-A16B-346403241BA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37689489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Mask_4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1" y="2322290"/>
            <a:ext cx="16226035" cy="9919877"/>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1">
            <a:extLst>
              <a:ext uri="{FF2B5EF4-FFF2-40B4-BE49-F238E27FC236}">
                <a16:creationId xmlns:a16="http://schemas.microsoft.com/office/drawing/2014/main" id="{0C5B3516-BBD8-9147-940A-16B35708BC0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4512899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Mask_4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10969451" y="2394298"/>
            <a:ext cx="12841660" cy="9343813"/>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Номер слайда 1">
            <a:extLst>
              <a:ext uri="{FF2B5EF4-FFF2-40B4-BE49-F238E27FC236}">
                <a16:creationId xmlns:a16="http://schemas.microsoft.com/office/drawing/2014/main" id="{28526594-8463-974D-B281-A194EDBB4A8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592971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Mask_4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1176363" y="882130"/>
            <a:ext cx="14185576" cy="12219647"/>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1" name="Номер слайда 1">
            <a:extLst>
              <a:ext uri="{FF2B5EF4-FFF2-40B4-BE49-F238E27FC236}">
                <a16:creationId xmlns:a16="http://schemas.microsoft.com/office/drawing/2014/main" id="{EB0490A9-5E6B-4142-83CD-1C8AA423DA2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9487059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Mask_4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11257483" y="1494198"/>
            <a:ext cx="12384583" cy="10729192"/>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Номер слайда 1">
            <a:extLst>
              <a:ext uri="{FF2B5EF4-FFF2-40B4-BE49-F238E27FC236}">
                <a16:creationId xmlns:a16="http://schemas.microsoft.com/office/drawing/2014/main" id="{6FB7D644-B8CF-1944-8DB2-C9539B089B5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72166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Mask_47">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1" y="3474418"/>
            <a:ext cx="24387174" cy="10243170"/>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E3C1D8BA-8E91-B342-A032-46D6185A126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2458281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Mask_48">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3906466"/>
            <a:ext cx="23975009" cy="10965667"/>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42CF2DB9-AC92-BF4E-8376-4FBDF42963C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50491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Mask_4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528291" y="4770562"/>
            <a:ext cx="22178464" cy="8191685"/>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28F856CA-C752-F441-B399-80A36472C41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658971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Mask_50">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608411" y="4194498"/>
            <a:ext cx="8712968" cy="2304256"/>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954138"/>
            <a:ext cx="24387175" cy="12763450"/>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1FF74A44-DCBD-924E-AAAB-FE38875CFC5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5044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Mask_51">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3978474"/>
            <a:ext cx="24387175" cy="12763450"/>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668964AD-DBAA-6141-941B-B78AEA4E93E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268374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Mask_52">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1176363" y="954138"/>
            <a:ext cx="21962440" cy="7560840"/>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105E4A5C-8B03-574A-B553-5813132D03D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1112041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804006"/>
      </p:ext>
    </p:extLst>
  </p:cSld>
  <p:clrMap bg1="lt1" tx1="dk1" bg2="lt2" tx2="dk2" accent1="accent1" accent2="accent2" accent3="accent3" accent4="accent4" accent5="accent5" accent6="accent6" hlink="hlink" folHlink="folHlink"/>
  <p:sldLayoutIdLst>
    <p:sldLayoutId id="2147485611" r:id="rId1"/>
    <p:sldLayoutId id="2147485601" r:id="rId2"/>
    <p:sldLayoutId id="2147485676" r:id="rId3"/>
    <p:sldLayoutId id="2147485677" r:id="rId4"/>
    <p:sldLayoutId id="2147485804" r:id="rId5"/>
    <p:sldLayoutId id="2147485805" r:id="rId6"/>
    <p:sldLayoutId id="2147485806" r:id="rId7"/>
    <p:sldLayoutId id="2147485807" r:id="rId8"/>
    <p:sldLayoutId id="2147485808" r:id="rId9"/>
    <p:sldLayoutId id="2147485809" r:id="rId10"/>
    <p:sldLayoutId id="2147485810" r:id="rId11"/>
    <p:sldLayoutId id="2147485811" r:id="rId12"/>
    <p:sldLayoutId id="2147485813" r:id="rId13"/>
    <p:sldLayoutId id="2147485812" r:id="rId14"/>
    <p:sldLayoutId id="2147485815" r:id="rId15"/>
    <p:sldLayoutId id="2147485814" r:id="rId16"/>
    <p:sldLayoutId id="2147485816" r:id="rId17"/>
    <p:sldLayoutId id="2147485817" r:id="rId18"/>
    <p:sldLayoutId id="2147485818" r:id="rId19"/>
    <p:sldLayoutId id="2147485819" r:id="rId20"/>
    <p:sldLayoutId id="2147485820" r:id="rId21"/>
    <p:sldLayoutId id="2147485821" r:id="rId22"/>
    <p:sldLayoutId id="2147485822" r:id="rId23"/>
    <p:sldLayoutId id="2147485823" r:id="rId24"/>
    <p:sldLayoutId id="2147485824" r:id="rId25"/>
    <p:sldLayoutId id="2147485825" r:id="rId26"/>
    <p:sldLayoutId id="2147485694" r:id="rId27"/>
    <p:sldLayoutId id="2147485695" r:id="rId28"/>
    <p:sldLayoutId id="2147485691" r:id="rId29"/>
    <p:sldLayoutId id="2147485692" r:id="rId30"/>
    <p:sldLayoutId id="2147485693" r:id="rId31"/>
    <p:sldLayoutId id="2147485643" r:id="rId32"/>
    <p:sldLayoutId id="2147485683" r:id="rId33"/>
    <p:sldLayoutId id="2147485684" r:id="rId34"/>
    <p:sldLayoutId id="2147485685" r:id="rId35"/>
    <p:sldLayoutId id="2147485686" r:id="rId36"/>
    <p:sldLayoutId id="2147485687" r:id="rId37"/>
    <p:sldLayoutId id="2147485243" r:id="rId38"/>
    <p:sldLayoutId id="2147485191" r:id="rId39"/>
    <p:sldLayoutId id="2147485218" r:id="rId40"/>
    <p:sldLayoutId id="2147485219" r:id="rId41"/>
    <p:sldLayoutId id="2147485220" r:id="rId42"/>
    <p:sldLayoutId id="2147484520" r:id="rId43"/>
    <p:sldLayoutId id="2147485165" r:id="rId44"/>
    <p:sldLayoutId id="2147485673" r:id="rId45"/>
    <p:sldLayoutId id="2147485672" r:id="rId46"/>
    <p:sldLayoutId id="2147485666" r:id="rId47"/>
    <p:sldLayoutId id="2147485327" r:id="rId48"/>
    <p:sldLayoutId id="2147485437" r:id="rId49"/>
    <p:sldLayoutId id="2147485438" r:id="rId50"/>
    <p:sldLayoutId id="2147485442" r:id="rId51"/>
    <p:sldLayoutId id="2147485439" r:id="rId52"/>
    <p:sldLayoutId id="2147485443" r:id="rId53"/>
    <p:sldLayoutId id="2147485441" r:id="rId54"/>
    <p:sldLayoutId id="2147485444" r:id="rId55"/>
    <p:sldLayoutId id="2147485394" r:id="rId56"/>
    <p:sldLayoutId id="2147485367" r:id="rId57"/>
    <p:sldLayoutId id="2147485396" r:id="rId58"/>
    <p:sldLayoutId id="2147485387" r:id="rId59"/>
    <p:sldLayoutId id="2147485400" r:id="rId60"/>
    <p:sldLayoutId id="2147485389" r:id="rId61"/>
    <p:sldLayoutId id="2147485337" r:id="rId62"/>
    <p:sldLayoutId id="2147485391" r:id="rId63"/>
    <p:sldLayoutId id="2147485445" r:id="rId64"/>
    <p:sldLayoutId id="2147485395" r:id="rId65"/>
    <p:sldLayoutId id="2147485446" r:id="rId66"/>
    <p:sldLayoutId id="2147485397" r:id="rId67"/>
    <p:sldLayoutId id="2147485447" r:id="rId68"/>
    <p:sldLayoutId id="2147485399" r:id="rId69"/>
    <p:sldLayoutId id="2147485384" r:id="rId70"/>
    <p:sldLayoutId id="2147485335" r:id="rId71"/>
    <p:sldLayoutId id="2147485398" r:id="rId72"/>
    <p:sldLayoutId id="2147485448" r:id="rId73"/>
    <p:sldLayoutId id="2147485330" r:id="rId74"/>
    <p:sldLayoutId id="2147485422" r:id="rId75"/>
    <p:sldLayoutId id="2147485423" r:id="rId76"/>
    <p:sldLayoutId id="2147485419" r:id="rId77"/>
    <p:sldLayoutId id="2147485421" r:id="rId78"/>
    <p:sldLayoutId id="2147485401" r:id="rId79"/>
    <p:sldLayoutId id="2147485402" r:id="rId80"/>
    <p:sldLayoutId id="2147485357" r:id="rId81"/>
    <p:sldLayoutId id="2147485356" r:id="rId82"/>
    <p:sldLayoutId id="2147485403" r:id="rId83"/>
    <p:sldLayoutId id="2147485334" r:id="rId84"/>
    <p:sldLayoutId id="2147485449" r:id="rId85"/>
    <p:sldLayoutId id="2147485339" r:id="rId86"/>
    <p:sldLayoutId id="2147485342" r:id="rId87"/>
    <p:sldLayoutId id="2147485343" r:id="rId88"/>
    <p:sldLayoutId id="2147485368" r:id="rId89"/>
    <p:sldLayoutId id="2147485369" r:id="rId90"/>
    <p:sldLayoutId id="2147485370" r:id="rId91"/>
    <p:sldLayoutId id="2147485424" r:id="rId92"/>
    <p:sldLayoutId id="2147485425" r:id="rId93"/>
    <p:sldLayoutId id="2147485418" r:id="rId94"/>
    <p:sldLayoutId id="2147485372" r:id="rId95"/>
    <p:sldLayoutId id="2147485371" r:id="rId96"/>
    <p:sldLayoutId id="2147485373" r:id="rId97"/>
    <p:sldLayoutId id="2147485383" r:id="rId98"/>
    <p:sldLayoutId id="2147485374" r:id="rId99"/>
    <p:sldLayoutId id="2147485375" r:id="rId100"/>
    <p:sldLayoutId id="2147485376" r:id="rId101"/>
    <p:sldLayoutId id="2147485377" r:id="rId102"/>
    <p:sldLayoutId id="2147485378" r:id="rId103"/>
    <p:sldLayoutId id="2147485379" r:id="rId104"/>
    <p:sldLayoutId id="2147485380" r:id="rId105"/>
    <p:sldLayoutId id="2147485381" r:id="rId106"/>
    <p:sldLayoutId id="2147485426" r:id="rId107"/>
    <p:sldLayoutId id="2147485427" r:id="rId108"/>
    <p:sldLayoutId id="2147485428" r:id="rId109"/>
    <p:sldLayoutId id="2147485429" r:id="rId110"/>
    <p:sldLayoutId id="2147485430" r:id="rId111"/>
    <p:sldLayoutId id="2147485431" r:id="rId112"/>
    <p:sldLayoutId id="2147485432" r:id="rId113"/>
    <p:sldLayoutId id="2147485433" r:id="rId114"/>
    <p:sldLayoutId id="2147485434" r:id="rId115"/>
    <p:sldLayoutId id="2147485435" r:id="rId116"/>
    <p:sldLayoutId id="2147485436" r:id="rId117"/>
    <p:sldLayoutId id="2147485656" r:id="rId118"/>
    <p:sldLayoutId id="2147485657" r:id="rId119"/>
    <p:sldLayoutId id="2147485658" r:id="rId120"/>
    <p:sldLayoutId id="2147485655" r:id="rId121"/>
    <p:sldLayoutId id="2147485659" r:id="rId122"/>
    <p:sldLayoutId id="2147485660" r:id="rId123"/>
    <p:sldLayoutId id="2147485661" r:id="rId124"/>
    <p:sldLayoutId id="2147485662" r:id="rId125"/>
    <p:sldLayoutId id="2147485664" r:id="rId126"/>
    <p:sldLayoutId id="2147485665" r:id="rId127"/>
    <p:sldLayoutId id="2147485663" r:id="rId128"/>
    <p:sldLayoutId id="2147485487" r:id="rId129"/>
    <p:sldLayoutId id="2147485488" r:id="rId130"/>
    <p:sldLayoutId id="2147485489" r:id="rId131"/>
    <p:sldLayoutId id="2147485490" r:id="rId132"/>
    <p:sldLayoutId id="2147485491" r:id="rId133"/>
    <p:sldLayoutId id="2147485492" r:id="rId134"/>
    <p:sldLayoutId id="2147485504" r:id="rId135"/>
    <p:sldLayoutId id="2147485502" r:id="rId136"/>
    <p:sldLayoutId id="2147485500" r:id="rId137"/>
    <p:sldLayoutId id="2147485499" r:id="rId138"/>
    <p:sldLayoutId id="2147485493" r:id="rId139"/>
    <p:sldLayoutId id="2147485501" r:id="rId140"/>
    <p:sldLayoutId id="2147485498" r:id="rId141"/>
    <p:sldLayoutId id="2147485495" r:id="rId142"/>
    <p:sldLayoutId id="2147485496" r:id="rId143"/>
    <p:sldLayoutId id="2147485505" r:id="rId144"/>
    <p:sldLayoutId id="2147485690" r:id="rId145"/>
    <p:sldLayoutId id="2147485826" r:id="rId146"/>
    <p:sldLayoutId id="2147485827" r:id="rId147"/>
  </p:sldLayoutIdLst>
  <p:hf hdr="0"/>
  <p:txStyles>
    <p:titleStyle>
      <a:lvl1pPr algn="ctr" defTabSz="2438645" rtl="0" eaLnBrk="1" latinLnBrk="0" hangingPunct="1">
        <a:spcBef>
          <a:spcPct val="0"/>
        </a:spcBef>
        <a:buNone/>
        <a:defRPr sz="11701" kern="1200">
          <a:solidFill>
            <a:schemeClr val="tx1"/>
          </a:solidFill>
          <a:latin typeface="+mj-lt"/>
          <a:ea typeface="+mj-ea"/>
          <a:cs typeface="+mj-cs"/>
        </a:defRPr>
      </a:lvl1pPr>
    </p:titleStyle>
    <p:bodyStyle>
      <a:lvl1pPr marL="914492" indent="-914492" algn="l" defTabSz="2438645" rtl="0" eaLnBrk="1" latinLnBrk="0" hangingPunct="1">
        <a:spcBef>
          <a:spcPct val="20000"/>
        </a:spcBef>
        <a:buFont typeface="Arial" panose="020B0604020202020204" pitchFamily="34" charset="0"/>
        <a:buChar char="•"/>
        <a:defRPr sz="8501" kern="1200">
          <a:solidFill>
            <a:schemeClr val="tx1"/>
          </a:solidFill>
          <a:latin typeface="+mn-lt"/>
          <a:ea typeface="+mn-ea"/>
          <a:cs typeface="+mn-cs"/>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p:bodyStyle>
    <p:otherStyle>
      <a:defPPr>
        <a:defRPr lang="ru-RU"/>
      </a:defPPr>
      <a:lvl1pPr marL="0" algn="l" defTabSz="2438645" rtl="0" eaLnBrk="1" latinLnBrk="0" hangingPunct="1">
        <a:defRPr sz="4800" kern="1200">
          <a:solidFill>
            <a:schemeClr val="tx1"/>
          </a:solidFill>
          <a:latin typeface="+mn-lt"/>
          <a:ea typeface="+mn-ea"/>
          <a:cs typeface="+mn-cs"/>
        </a:defRPr>
      </a:lvl1pPr>
      <a:lvl2pPr marL="1219322" algn="l" defTabSz="2438645" rtl="0" eaLnBrk="1" latinLnBrk="0" hangingPunct="1">
        <a:defRPr sz="4800" kern="1200">
          <a:solidFill>
            <a:schemeClr val="tx1"/>
          </a:solidFill>
          <a:latin typeface="+mn-lt"/>
          <a:ea typeface="+mn-ea"/>
          <a:cs typeface="+mn-cs"/>
        </a:defRPr>
      </a:lvl2pPr>
      <a:lvl3pPr marL="2438645" algn="l" defTabSz="2438645" rtl="0" eaLnBrk="1" latinLnBrk="0" hangingPunct="1">
        <a:defRPr sz="4800" kern="1200">
          <a:solidFill>
            <a:schemeClr val="tx1"/>
          </a:solidFill>
          <a:latin typeface="+mn-lt"/>
          <a:ea typeface="+mn-ea"/>
          <a:cs typeface="+mn-cs"/>
        </a:defRPr>
      </a:lvl3pPr>
      <a:lvl4pPr marL="3657966" algn="l" defTabSz="2438645" rtl="0" eaLnBrk="1" latinLnBrk="0" hangingPunct="1">
        <a:defRPr sz="4800" kern="1200">
          <a:solidFill>
            <a:schemeClr val="tx1"/>
          </a:solidFill>
          <a:latin typeface="+mn-lt"/>
          <a:ea typeface="+mn-ea"/>
          <a:cs typeface="+mn-cs"/>
        </a:defRPr>
      </a:lvl4pPr>
      <a:lvl5pPr marL="4877288" algn="l" defTabSz="2438645" rtl="0" eaLnBrk="1" latinLnBrk="0" hangingPunct="1">
        <a:defRPr sz="4800" kern="1200">
          <a:solidFill>
            <a:schemeClr val="tx1"/>
          </a:solidFill>
          <a:latin typeface="+mn-lt"/>
          <a:ea typeface="+mn-ea"/>
          <a:cs typeface="+mn-cs"/>
        </a:defRPr>
      </a:lvl5pPr>
      <a:lvl6pPr marL="6096610" algn="l" defTabSz="2438645" rtl="0" eaLnBrk="1" latinLnBrk="0" hangingPunct="1">
        <a:defRPr sz="4800" kern="1200">
          <a:solidFill>
            <a:schemeClr val="tx1"/>
          </a:solidFill>
          <a:latin typeface="+mn-lt"/>
          <a:ea typeface="+mn-ea"/>
          <a:cs typeface="+mn-cs"/>
        </a:defRPr>
      </a:lvl6pPr>
      <a:lvl7pPr marL="7315932" algn="l" defTabSz="2438645" rtl="0" eaLnBrk="1" latinLnBrk="0" hangingPunct="1">
        <a:defRPr sz="4800" kern="1200">
          <a:solidFill>
            <a:schemeClr val="tx1"/>
          </a:solidFill>
          <a:latin typeface="+mn-lt"/>
          <a:ea typeface="+mn-ea"/>
          <a:cs typeface="+mn-cs"/>
        </a:defRPr>
      </a:lvl7pPr>
      <a:lvl8pPr marL="8535253" algn="l" defTabSz="2438645" rtl="0" eaLnBrk="1" latinLnBrk="0" hangingPunct="1">
        <a:defRPr sz="4800" kern="1200">
          <a:solidFill>
            <a:schemeClr val="tx1"/>
          </a:solidFill>
          <a:latin typeface="+mn-lt"/>
          <a:ea typeface="+mn-ea"/>
          <a:cs typeface="+mn-cs"/>
        </a:defRPr>
      </a:lvl8pPr>
      <a:lvl9pPr marL="9754574" algn="l" defTabSz="2438645"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10.xml"/><Relationship Id="rId16" Type="http://schemas.openxmlformats.org/officeDocument/2006/relationships/image" Target="../media/image29.svg"/><Relationship Id="rId1" Type="http://schemas.openxmlformats.org/officeDocument/2006/relationships/slideLayout" Target="../slideLayouts/slideLayout146.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6.xml"/><Relationship Id="rId1" Type="http://schemas.openxmlformats.org/officeDocument/2006/relationships/tags" Target="../tags/tag1.xml"/><Relationship Id="rId5" Type="http://schemas.openxmlformats.org/officeDocument/2006/relationships/image" Target="../media/image30.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jpeg"/><Relationship Id="rId12"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4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11" name="Google Shape;186;p4">
            <a:extLst>
              <a:ext uri="{FF2B5EF4-FFF2-40B4-BE49-F238E27FC236}">
                <a16:creationId xmlns:a16="http://schemas.microsoft.com/office/drawing/2014/main" id="{C17157BE-A9C9-B5C9-0472-E2113EB79D8F}"/>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1FE35218-7344-6CCA-9EE0-A800BEB665E2}"/>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16CEE5C8-4AC1-0B3A-16E8-E1102E6AB5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AF4887A1-B17C-07E7-8012-EF8F4CB157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8" name="Google Shape;186;p4">
            <a:extLst>
              <a:ext uri="{FF2B5EF4-FFF2-40B4-BE49-F238E27FC236}">
                <a16:creationId xmlns:a16="http://schemas.microsoft.com/office/drawing/2014/main" id="{F5B275BA-DCFB-C8AF-40BD-76027FB2CAAC}"/>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1st All Hands Meeting 31.01.2025</a:t>
            </a:r>
          </a:p>
        </p:txBody>
      </p:sp>
    </p:spTree>
    <p:extLst>
      <p:ext uri="{BB962C8B-B14F-4D97-AF65-F5344CB8AC3E}">
        <p14:creationId xmlns:p14="http://schemas.microsoft.com/office/powerpoint/2010/main" val="200076730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Bent Arrow 146">
            <a:extLst>
              <a:ext uri="{FF2B5EF4-FFF2-40B4-BE49-F238E27FC236}">
                <a16:creationId xmlns:a16="http://schemas.microsoft.com/office/drawing/2014/main" id="{F42A6E80-29DC-27D2-A333-D4398F8C20D9}"/>
              </a:ext>
            </a:extLst>
          </p:cNvPr>
          <p:cNvSpPr/>
          <p:nvPr/>
        </p:nvSpPr>
        <p:spPr>
          <a:xfrm rot="5400000">
            <a:off x="13331610" y="6495200"/>
            <a:ext cx="583173" cy="2736302"/>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Bent Arrow 153">
            <a:extLst>
              <a:ext uri="{FF2B5EF4-FFF2-40B4-BE49-F238E27FC236}">
                <a16:creationId xmlns:a16="http://schemas.microsoft.com/office/drawing/2014/main" id="{156BAE5A-15EB-085E-654B-DF017EB447EB}"/>
              </a:ext>
            </a:extLst>
          </p:cNvPr>
          <p:cNvSpPr/>
          <p:nvPr/>
        </p:nvSpPr>
        <p:spPr>
          <a:xfrm rot="5400000">
            <a:off x="11550446" y="6060061"/>
            <a:ext cx="4588098" cy="3178901"/>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Bent Arrow 155">
            <a:extLst>
              <a:ext uri="{FF2B5EF4-FFF2-40B4-BE49-F238E27FC236}">
                <a16:creationId xmlns:a16="http://schemas.microsoft.com/office/drawing/2014/main" id="{32DEE76B-4B0C-6960-9072-60C0ADF11219}"/>
              </a:ext>
            </a:extLst>
          </p:cNvPr>
          <p:cNvSpPr/>
          <p:nvPr/>
        </p:nvSpPr>
        <p:spPr>
          <a:xfrm rot="5400000" flipH="1">
            <a:off x="12879139" y="7612082"/>
            <a:ext cx="1488115" cy="2736302"/>
          </a:xfrm>
          <a:prstGeom prst="bentArrow">
            <a:avLst>
              <a:gd name="adj1" fmla="val 25000"/>
              <a:gd name="adj2" fmla="val 0"/>
              <a:gd name="adj3" fmla="val 0"/>
              <a:gd name="adj4" fmla="val 25021"/>
            </a:avLst>
          </a:prstGeom>
          <a:solidFill>
            <a:schemeClr val="tx2"/>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Bent Arrow 159">
            <a:extLst>
              <a:ext uri="{FF2B5EF4-FFF2-40B4-BE49-F238E27FC236}">
                <a16:creationId xmlns:a16="http://schemas.microsoft.com/office/drawing/2014/main" id="{7242A0FB-BA20-D245-21B2-CCD005FE6458}"/>
              </a:ext>
            </a:extLst>
          </p:cNvPr>
          <p:cNvSpPr/>
          <p:nvPr/>
        </p:nvSpPr>
        <p:spPr>
          <a:xfrm rot="5400000" flipH="1">
            <a:off x="12541477" y="8309080"/>
            <a:ext cx="2606038" cy="3178900"/>
          </a:xfrm>
          <a:prstGeom prst="bentArrow">
            <a:avLst>
              <a:gd name="adj1" fmla="val 25000"/>
              <a:gd name="adj2" fmla="val 0"/>
              <a:gd name="adj3" fmla="val 0"/>
              <a:gd name="adj4" fmla="val 19138"/>
            </a:avLst>
          </a:prstGeom>
          <a:solidFill>
            <a:schemeClr val="accent4"/>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231E4B44-9B30-2D60-D5E0-551A112CF10C}"/>
              </a:ext>
            </a:extLst>
          </p:cNvPr>
          <p:cNvSpPr txBox="1"/>
          <p:nvPr/>
        </p:nvSpPr>
        <p:spPr>
          <a:xfrm>
            <a:off x="816324" y="4966828"/>
            <a:ext cx="1950376" cy="3231654"/>
          </a:xfrm>
          <a:prstGeom prst="rect">
            <a:avLst/>
          </a:prstGeom>
          <a:noFill/>
        </p:spPr>
        <p:txBody>
          <a:bodyPr wrap="square" rtlCol="0">
            <a:spAutoFit/>
          </a:bodyPr>
          <a:lstStyle/>
          <a:p>
            <a:pPr algn="ctr"/>
            <a:r>
              <a:rPr lang="en-US" sz="2400" b="1">
                <a:solidFill>
                  <a:schemeClr val="tx2"/>
                </a:solidFill>
                <a:latin typeface="Montserrat" pitchFamily="2" charset="77"/>
              </a:rPr>
              <a:t>1. Satellite Data</a:t>
            </a:r>
          </a:p>
          <a:p>
            <a:pPr algn="ctr"/>
            <a:endParaRPr lang="en-US" sz="2400" b="1">
              <a:solidFill>
                <a:schemeClr val="tx2"/>
              </a:solidFill>
              <a:latin typeface="Montserrat" pitchFamily="2" charset="77"/>
            </a:endParaRPr>
          </a:p>
          <a:p>
            <a:pPr algn="ctr"/>
            <a:r>
              <a:rPr lang="en-US" sz="1600">
                <a:solidFill>
                  <a:schemeClr val="tx2"/>
                </a:solidFill>
                <a:latin typeface="Montserrat" pitchFamily="2" charset="77"/>
              </a:rPr>
              <a:t>Primary source of data, providing most general and accurate data for ocean monitoring</a:t>
            </a:r>
          </a:p>
          <a:p>
            <a:pPr algn="ctr"/>
            <a:endParaRPr lang="en-US" sz="2000">
              <a:solidFill>
                <a:schemeClr val="tx2"/>
              </a:solidFill>
              <a:latin typeface="Montserrat" pitchFamily="2" charset="77"/>
            </a:endParaRPr>
          </a:p>
        </p:txBody>
      </p:sp>
      <p:sp>
        <p:nvSpPr>
          <p:cNvPr id="26" name="Rounded Rectangle 25">
            <a:extLst>
              <a:ext uri="{FF2B5EF4-FFF2-40B4-BE49-F238E27FC236}">
                <a16:creationId xmlns:a16="http://schemas.microsoft.com/office/drawing/2014/main" id="{C1B9F48A-4DC2-1957-3C01-529D33AFEAC6}"/>
              </a:ext>
            </a:extLst>
          </p:cNvPr>
          <p:cNvSpPr/>
          <p:nvPr/>
        </p:nvSpPr>
        <p:spPr>
          <a:xfrm rot="10800000">
            <a:off x="17919754" y="2989300"/>
            <a:ext cx="5788731" cy="9967412"/>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grpSp>
        <p:nvGrpSpPr>
          <p:cNvPr id="12" name="Group 11">
            <a:extLst>
              <a:ext uri="{FF2B5EF4-FFF2-40B4-BE49-F238E27FC236}">
                <a16:creationId xmlns:a16="http://schemas.microsoft.com/office/drawing/2014/main" id="{F25062BA-79B5-8C52-FBA4-A6A905280178}"/>
              </a:ext>
            </a:extLst>
          </p:cNvPr>
          <p:cNvGrpSpPr/>
          <p:nvPr/>
        </p:nvGrpSpPr>
        <p:grpSpPr>
          <a:xfrm rot="10800000">
            <a:off x="16766182" y="8236176"/>
            <a:ext cx="2341976" cy="1787302"/>
            <a:chOff x="83869" y="4842570"/>
            <a:chExt cx="7465683" cy="2160241"/>
          </a:xfrm>
          <a:solidFill>
            <a:srgbClr val="2463EC"/>
          </a:solidFill>
        </p:grpSpPr>
        <p:sp>
          <p:nvSpPr>
            <p:cNvPr id="14" name="Bent Arrow 13">
              <a:extLst>
                <a:ext uri="{FF2B5EF4-FFF2-40B4-BE49-F238E27FC236}">
                  <a16:creationId xmlns:a16="http://schemas.microsoft.com/office/drawing/2014/main" id="{9B0101AB-14DB-6008-EFB5-EA834B2D9BA3}"/>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a:extLst>
                <a:ext uri="{FF2B5EF4-FFF2-40B4-BE49-F238E27FC236}">
                  <a16:creationId xmlns:a16="http://schemas.microsoft.com/office/drawing/2014/main" id="{DA19267A-A242-1069-B046-1B5C11F2CAB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Google Shape;1021;p152">
            <a:extLst>
              <a:ext uri="{FF2B5EF4-FFF2-40B4-BE49-F238E27FC236}">
                <a16:creationId xmlns:a16="http://schemas.microsoft.com/office/drawing/2014/main" id="{3D9D6979-BF9F-6868-62BB-04ED3A2BEDE0}"/>
              </a:ext>
            </a:extLst>
          </p:cNvPr>
          <p:cNvSpPr txBox="1"/>
          <p:nvPr/>
        </p:nvSpPr>
        <p:spPr>
          <a:xfrm>
            <a:off x="18711246" y="10876761"/>
            <a:ext cx="4859954" cy="193895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Using set of relevant variables to predict fish population in the future</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Supporting fishery companies for sustainable and predictable fishery</a:t>
            </a:r>
          </a:p>
        </p:txBody>
      </p:sp>
      <p:sp>
        <p:nvSpPr>
          <p:cNvPr id="65" name="Rounded Rectangle 64">
            <a:extLst>
              <a:ext uri="{FF2B5EF4-FFF2-40B4-BE49-F238E27FC236}">
                <a16:creationId xmlns:a16="http://schemas.microsoft.com/office/drawing/2014/main" id="{C0A45FF9-D509-E0B7-C6B0-EEA96B24F7D5}"/>
              </a:ext>
            </a:extLst>
          </p:cNvPr>
          <p:cNvSpPr/>
          <p:nvPr/>
        </p:nvSpPr>
        <p:spPr>
          <a:xfrm>
            <a:off x="18712772" y="9428521"/>
            <a:ext cx="4443442"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66" name="Google Shape;1021;p152">
            <a:extLst>
              <a:ext uri="{FF2B5EF4-FFF2-40B4-BE49-F238E27FC236}">
                <a16:creationId xmlns:a16="http://schemas.microsoft.com/office/drawing/2014/main" id="{C97C2BFA-FE46-1B86-4B68-FF0C853B846C}"/>
              </a:ext>
            </a:extLst>
          </p:cNvPr>
          <p:cNvSpPr txBox="1">
            <a:spLocks/>
          </p:cNvSpPr>
          <p:nvPr/>
        </p:nvSpPr>
        <p:spPr>
          <a:xfrm>
            <a:off x="19726484" y="9667106"/>
            <a:ext cx="3484327"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Fishery </a:t>
            </a:r>
          </a:p>
          <a:p>
            <a:pPr marL="0" marR="0" lvl="0" indent="0" algn="ctr" rtl="0">
              <a:spcBef>
                <a:spcPts val="0"/>
              </a:spcBef>
              <a:spcAft>
                <a:spcPts val="0"/>
              </a:spcAft>
              <a:buNone/>
            </a:pPr>
            <a:r>
              <a:rPr lang="en-US" sz="2400" b="1">
                <a:solidFill>
                  <a:srgbClr val="0081FB"/>
                </a:solidFill>
                <a:latin typeface="Montserrat"/>
                <a:sym typeface="Montserrat"/>
              </a:rPr>
              <a:t>Forecasting</a:t>
            </a:r>
          </a:p>
        </p:txBody>
      </p:sp>
      <p:sp>
        <p:nvSpPr>
          <p:cNvPr id="71" name="Oval 70">
            <a:extLst>
              <a:ext uri="{FF2B5EF4-FFF2-40B4-BE49-F238E27FC236}">
                <a16:creationId xmlns:a16="http://schemas.microsoft.com/office/drawing/2014/main" id="{9A1EB25B-9CDB-3B57-AA45-4949D2BFD83A}"/>
              </a:ext>
            </a:extLst>
          </p:cNvPr>
          <p:cNvSpPr>
            <a:spLocks noChangeAspect="1"/>
          </p:cNvSpPr>
          <p:nvPr/>
        </p:nvSpPr>
        <p:spPr>
          <a:xfrm rot="10800000">
            <a:off x="18573384" y="9896991"/>
            <a:ext cx="27874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84EB50A2-E92B-9681-0386-362B3534E0D5}"/>
              </a:ext>
            </a:extLst>
          </p:cNvPr>
          <p:cNvGrpSpPr/>
          <p:nvPr/>
        </p:nvGrpSpPr>
        <p:grpSpPr>
          <a:xfrm flipH="1">
            <a:off x="16764914" y="6060233"/>
            <a:ext cx="2343153" cy="1787302"/>
            <a:chOff x="83869" y="4842570"/>
            <a:chExt cx="7465683" cy="2160241"/>
          </a:xfrm>
          <a:solidFill>
            <a:srgbClr val="2463EC"/>
          </a:solidFill>
        </p:grpSpPr>
        <p:sp>
          <p:nvSpPr>
            <p:cNvPr id="47" name="Bent Arrow 46">
              <a:extLst>
                <a:ext uri="{FF2B5EF4-FFF2-40B4-BE49-F238E27FC236}">
                  <a16:creationId xmlns:a16="http://schemas.microsoft.com/office/drawing/2014/main" id="{F66EBAE3-6131-B2A3-669B-3C1464AA0FBE}"/>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Bent Arrow 47">
              <a:extLst>
                <a:ext uri="{FF2B5EF4-FFF2-40B4-BE49-F238E27FC236}">
                  <a16:creationId xmlns:a16="http://schemas.microsoft.com/office/drawing/2014/main" id="{EFE14E60-B425-8A28-8ABF-6B933CA1118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8" name="Rounded Rectangle 187">
            <a:extLst>
              <a:ext uri="{FF2B5EF4-FFF2-40B4-BE49-F238E27FC236}">
                <a16:creationId xmlns:a16="http://schemas.microsoft.com/office/drawing/2014/main" id="{D182C1CE-438E-BE3C-5D7C-7DEC9A976BCA}"/>
              </a:ext>
            </a:extLst>
          </p:cNvPr>
          <p:cNvSpPr/>
          <p:nvPr/>
        </p:nvSpPr>
        <p:spPr>
          <a:xfrm>
            <a:off x="18712762" y="5408236"/>
            <a:ext cx="4443440"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6" name="Oval 45">
            <a:extLst>
              <a:ext uri="{FF2B5EF4-FFF2-40B4-BE49-F238E27FC236}">
                <a16:creationId xmlns:a16="http://schemas.microsoft.com/office/drawing/2014/main" id="{9674E2EF-6FCD-8C87-50D8-2E1F3A0B2A2F}"/>
              </a:ext>
            </a:extLst>
          </p:cNvPr>
          <p:cNvSpPr>
            <a:spLocks noChangeAspect="1"/>
          </p:cNvSpPr>
          <p:nvPr/>
        </p:nvSpPr>
        <p:spPr>
          <a:xfrm flipH="1">
            <a:off x="18573374" y="5940894"/>
            <a:ext cx="27888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Google Shape;1021;p152">
            <a:extLst>
              <a:ext uri="{FF2B5EF4-FFF2-40B4-BE49-F238E27FC236}">
                <a16:creationId xmlns:a16="http://schemas.microsoft.com/office/drawing/2014/main" id="{E10F2AC4-3519-9DF8-5D1B-2E5E09597030}"/>
              </a:ext>
            </a:extLst>
          </p:cNvPr>
          <p:cNvSpPr txBox="1">
            <a:spLocks/>
          </p:cNvSpPr>
          <p:nvPr/>
        </p:nvSpPr>
        <p:spPr>
          <a:xfrm>
            <a:off x="19610411" y="5634658"/>
            <a:ext cx="3484326"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Pollution Management </a:t>
            </a:r>
          </a:p>
        </p:txBody>
      </p:sp>
      <p:sp>
        <p:nvSpPr>
          <p:cNvPr id="97" name="Google Shape;1021;p152">
            <a:extLst>
              <a:ext uri="{FF2B5EF4-FFF2-40B4-BE49-F238E27FC236}">
                <a16:creationId xmlns:a16="http://schemas.microsoft.com/office/drawing/2014/main" id="{64F577BD-54CE-AF72-6069-ACA2D26CD350}"/>
              </a:ext>
            </a:extLst>
          </p:cNvPr>
          <p:cNvSpPr txBox="1"/>
          <p:nvPr/>
        </p:nvSpPr>
        <p:spPr>
          <a:xfrm>
            <a:off x="18711246" y="6844313"/>
            <a:ext cx="5044643" cy="224672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Providing polluting industrial companies an overview of their pollution</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Regulation can make use of pollution monitoring and increasing compliance for polluting companies</a:t>
            </a:r>
          </a:p>
        </p:txBody>
      </p:sp>
      <p:sp>
        <p:nvSpPr>
          <p:cNvPr id="2" name="TextBox 1">
            <a:extLst>
              <a:ext uri="{FF2B5EF4-FFF2-40B4-BE49-F238E27FC236}">
                <a16:creationId xmlns:a16="http://schemas.microsoft.com/office/drawing/2014/main" id="{B2A7183A-0CB1-DDA2-1657-090DEFCC8512}"/>
              </a:ext>
            </a:extLst>
          </p:cNvPr>
          <p:cNvSpPr txBox="1"/>
          <p:nvPr/>
        </p:nvSpPr>
        <p:spPr>
          <a:xfrm>
            <a:off x="18302883" y="3114378"/>
            <a:ext cx="5122030" cy="2062103"/>
          </a:xfrm>
          <a:prstGeom prst="rect">
            <a:avLst/>
          </a:prstGeom>
          <a:noFill/>
        </p:spPr>
        <p:txBody>
          <a:bodyPr wrap="square" rtlCol="0">
            <a:spAutoFit/>
          </a:bodyPr>
          <a:lstStyle/>
          <a:p>
            <a:pPr algn="ctr"/>
            <a:r>
              <a:rPr lang="en-US" sz="2800" b="1">
                <a:solidFill>
                  <a:srgbClr val="0081FB"/>
                </a:solidFill>
                <a:latin typeface="Montserrat" pitchFamily="2" charset="77"/>
              </a:rPr>
              <a:t>Output</a:t>
            </a:r>
          </a:p>
          <a:p>
            <a:pPr algn="ctr"/>
            <a:r>
              <a:rPr lang="en-US" sz="2000">
                <a:solidFill>
                  <a:srgbClr val="0081FB"/>
                </a:solidFill>
                <a:latin typeface="Montserrat" pitchFamily="2" charset="77"/>
              </a:rPr>
              <a:t>Pedict target variable for specific time</a:t>
            </a:r>
          </a:p>
          <a:p>
            <a:pPr algn="ctr"/>
            <a:endParaRPr lang="en-US" sz="2000">
              <a:solidFill>
                <a:srgbClr val="0081FB"/>
              </a:solidFill>
              <a:latin typeface="Montserrat" pitchFamily="2" charset="77"/>
            </a:endParaRPr>
          </a:p>
          <a:p>
            <a:pPr algn="ctr"/>
            <a:r>
              <a:rPr lang="en-US" sz="2000">
                <a:solidFill>
                  <a:srgbClr val="0081FB"/>
                </a:solidFill>
                <a:latin typeface="Montserrat" pitchFamily="2" charset="77"/>
              </a:rPr>
              <a:t>Potential variables: Chlorophyll (Plankton Bloom), Sea Surface Temperatures, Turbidity</a:t>
            </a:r>
          </a:p>
        </p:txBody>
      </p:sp>
      <p:sp>
        <p:nvSpPr>
          <p:cNvPr id="11" name="Title 1">
            <a:extLst>
              <a:ext uri="{FF2B5EF4-FFF2-40B4-BE49-F238E27FC236}">
                <a16:creationId xmlns:a16="http://schemas.microsoft.com/office/drawing/2014/main" id="{EB0A8459-CE7F-55B4-4554-D4C4F53C7FA7}"/>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These are the datasets we want to use to develop the foundation model for modelling the world’s oceans</a:t>
            </a:r>
            <a:endParaRPr lang="en-US" sz="3200"/>
          </a:p>
        </p:txBody>
      </p:sp>
      <p:sp>
        <p:nvSpPr>
          <p:cNvPr id="187" name="TextBox 186">
            <a:extLst>
              <a:ext uri="{FF2B5EF4-FFF2-40B4-BE49-F238E27FC236}">
                <a16:creationId xmlns:a16="http://schemas.microsoft.com/office/drawing/2014/main" id="{73C4D901-750B-C56F-B42B-6DEC531B1550}"/>
              </a:ext>
            </a:extLst>
          </p:cNvPr>
          <p:cNvSpPr txBox="1"/>
          <p:nvPr/>
        </p:nvSpPr>
        <p:spPr>
          <a:xfrm>
            <a:off x="815975" y="9235058"/>
            <a:ext cx="2095730" cy="2246769"/>
          </a:xfrm>
          <a:prstGeom prst="rect">
            <a:avLst/>
          </a:prstGeom>
          <a:noFill/>
        </p:spPr>
        <p:txBody>
          <a:bodyPr wrap="square" rtlCol="0">
            <a:spAutoFit/>
          </a:bodyPr>
          <a:lstStyle/>
          <a:p>
            <a:pPr algn="ctr"/>
            <a:r>
              <a:rPr lang="en-US" sz="2400" b="1" err="1">
                <a:solidFill>
                  <a:srgbClr val="9A9898"/>
                </a:solidFill>
                <a:latin typeface="Montserrat" pitchFamily="2" charset="77"/>
              </a:rPr>
              <a:t>2. Non-Satellite Data</a:t>
            </a:r>
            <a:endParaRPr lang="en-US" sz="2400" b="1">
              <a:solidFill>
                <a:srgbClr val="9A9898"/>
              </a:solidFill>
              <a:latin typeface="Montserrat" pitchFamily="2" charset="77"/>
            </a:endParaRPr>
          </a:p>
          <a:p>
            <a:pPr algn="ctr"/>
            <a:endParaRPr lang="en-US" sz="2000">
              <a:solidFill>
                <a:srgbClr val="9A9898"/>
              </a:solidFill>
              <a:latin typeface="Montserrat" pitchFamily="2" charset="77"/>
            </a:endParaRPr>
          </a:p>
          <a:p>
            <a:pPr algn="ctr"/>
            <a:r>
              <a:rPr lang="en-US" sz="1600">
                <a:solidFill>
                  <a:srgbClr val="9A9898"/>
                </a:solidFill>
                <a:latin typeface="Montserrat" pitchFamily="2" charset="77"/>
              </a:rPr>
              <a:t>Aimming to diversify with air, in-water, etc.</a:t>
            </a:r>
          </a:p>
        </p:txBody>
      </p:sp>
      <p:sp>
        <p:nvSpPr>
          <p:cNvPr id="24" name="Google Shape;1019;p152">
            <a:extLst>
              <a:ext uri="{FF2B5EF4-FFF2-40B4-BE49-F238E27FC236}">
                <a16:creationId xmlns:a16="http://schemas.microsoft.com/office/drawing/2014/main" id="{3FDDFAA6-DB5A-FE9C-6DF8-E2ABBCDC94CD}"/>
              </a:ext>
            </a:extLst>
          </p:cNvPr>
          <p:cNvSpPr txBox="1"/>
          <p:nvPr/>
        </p:nvSpPr>
        <p:spPr>
          <a:xfrm>
            <a:off x="2869413" y="5751419"/>
            <a:ext cx="11187830" cy="132339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MODIS (Aqua &amp; Terra)</a:t>
            </a:r>
            <a:r>
              <a:rPr lang="en-US" sz="2000" err="1">
                <a:solidFill>
                  <a:schemeClr val="tx2"/>
                </a:solidFill>
                <a:latin typeface="Montserrat"/>
                <a:sym typeface="Montserrat"/>
              </a:rPr>
              <a:t>: Measures ocean color, SST, and biological productivity</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omi NPP &amp; NOAA-20 (JPSS Program)</a:t>
            </a:r>
            <a:r>
              <a:rPr lang="en-US" sz="2000" err="1">
                <a:solidFill>
                  <a:schemeClr val="tx2"/>
                </a:solidFill>
                <a:latin typeface="Montserrat"/>
                <a:sym typeface="Montserrat"/>
              </a:rPr>
              <a:t>: Atmospheric and oceanic data</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rface Water and Ocean Topography</a:t>
            </a:r>
            <a:r>
              <a:rPr lang="en-US" sz="2000" err="1">
                <a:solidFill>
                  <a:schemeClr val="tx2"/>
                </a:solidFill>
                <a:latin typeface="Montserrat"/>
                <a:sym typeface="Montserrat"/>
              </a:rPr>
              <a:t>:  Ocean currents and surface water bodie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Landsat-8 &amp; 9 (Joint NASA-USGS)</a:t>
            </a:r>
            <a:r>
              <a:rPr lang="en-US" sz="2000" err="1">
                <a:solidFill>
                  <a:schemeClr val="tx2"/>
                </a:solidFill>
                <a:latin typeface="Montserrat"/>
                <a:sym typeface="Montserrat"/>
              </a:rPr>
              <a:t>: Multispectral coastal and near shore water data</a:t>
            </a:r>
          </a:p>
        </p:txBody>
      </p:sp>
      <p:sp>
        <p:nvSpPr>
          <p:cNvPr id="148" name="Rounded Rectangle 147">
            <a:extLst>
              <a:ext uri="{FF2B5EF4-FFF2-40B4-BE49-F238E27FC236}">
                <a16:creationId xmlns:a16="http://schemas.microsoft.com/office/drawing/2014/main" id="{AFDC5E95-B902-328C-B93A-B914F22446D9}"/>
              </a:ext>
            </a:extLst>
          </p:cNvPr>
          <p:cNvSpPr/>
          <p:nvPr/>
        </p:nvSpPr>
        <p:spPr>
          <a:xfrm>
            <a:off x="2832547" y="4924935"/>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0" name="Oval 149">
            <a:extLst>
              <a:ext uri="{FF2B5EF4-FFF2-40B4-BE49-F238E27FC236}">
                <a16:creationId xmlns:a16="http://schemas.microsoft.com/office/drawing/2014/main" id="{025812FE-D4AB-8420-6EF5-E522A177497A}"/>
              </a:ext>
            </a:extLst>
          </p:cNvPr>
          <p:cNvSpPr>
            <a:spLocks noChangeAspect="1"/>
          </p:cNvSpPr>
          <p:nvPr/>
        </p:nvSpPr>
        <p:spPr>
          <a:xfrm rot="10800000" flipH="1">
            <a:off x="13673406" y="5204367"/>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Google Shape;1011;p152">
            <a:extLst>
              <a:ext uri="{FF2B5EF4-FFF2-40B4-BE49-F238E27FC236}">
                <a16:creationId xmlns:a16="http://schemas.microsoft.com/office/drawing/2014/main" id="{FFF6682A-8394-5BFB-1B56-FF5B78899DEE}"/>
              </a:ext>
            </a:extLst>
          </p:cNvPr>
          <p:cNvSpPr txBox="1"/>
          <p:nvPr/>
        </p:nvSpPr>
        <p:spPr>
          <a:xfrm>
            <a:off x="4053282" y="5116241"/>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tx2"/>
                </a:solidFill>
                <a:latin typeface="Montserrat"/>
                <a:ea typeface="Montserrat"/>
                <a:cs typeface="Montserrat"/>
                <a:sym typeface="Montserrat"/>
              </a:rPr>
              <a:t>NASA Satellites</a:t>
            </a:r>
          </a:p>
        </p:txBody>
      </p:sp>
      <p:sp>
        <p:nvSpPr>
          <p:cNvPr id="13" name="Google Shape;1021;p152">
            <a:extLst>
              <a:ext uri="{FF2B5EF4-FFF2-40B4-BE49-F238E27FC236}">
                <a16:creationId xmlns:a16="http://schemas.microsoft.com/office/drawing/2014/main" id="{23C23C04-92AE-C1D1-9E58-571FD0869D07}"/>
              </a:ext>
            </a:extLst>
          </p:cNvPr>
          <p:cNvSpPr txBox="1"/>
          <p:nvPr/>
        </p:nvSpPr>
        <p:spPr>
          <a:xfrm>
            <a:off x="2868708" y="8075420"/>
            <a:ext cx="10981059"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Himawari-8 (Japan - JAXA)</a:t>
            </a:r>
            <a:r>
              <a:rPr lang="en-US" sz="2000" err="1">
                <a:solidFill>
                  <a:schemeClr val="tx2"/>
                </a:solidFill>
                <a:latin typeface="Montserrat"/>
                <a:sym typeface="Montserrat"/>
              </a:rPr>
              <a:t>: Geostationary satellite providing SST measurement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GOES-16/GOES-17 (NOAA - US)</a:t>
            </a:r>
            <a:r>
              <a:rPr lang="en-US" sz="2000" err="1">
                <a:solidFill>
                  <a:schemeClr val="tx2"/>
                </a:solidFill>
                <a:latin typeface="Montserrat"/>
                <a:sym typeface="Montserrat"/>
              </a:rPr>
              <a:t>: Monitors SST, ocean storms, and atmospheric</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CryoSat-2 (ESA)</a:t>
            </a:r>
            <a:r>
              <a:rPr lang="en-US" sz="2000" err="1">
                <a:solidFill>
                  <a:schemeClr val="tx2"/>
                </a:solidFill>
                <a:latin typeface="Montserrat"/>
                <a:sym typeface="Montserrat"/>
              </a:rPr>
              <a:t>: Measures sea ice thickness, useful for Arctic and Antarctic</a:t>
            </a:r>
          </a:p>
        </p:txBody>
      </p:sp>
      <p:sp>
        <p:nvSpPr>
          <p:cNvPr id="157" name="Rounded Rectangle 156">
            <a:extLst>
              <a:ext uri="{FF2B5EF4-FFF2-40B4-BE49-F238E27FC236}">
                <a16:creationId xmlns:a16="http://schemas.microsoft.com/office/drawing/2014/main" id="{05B52822-D8F9-3C93-44A1-44A5A00C4767}"/>
              </a:ext>
            </a:extLst>
          </p:cNvPr>
          <p:cNvSpPr/>
          <p:nvPr/>
        </p:nvSpPr>
        <p:spPr>
          <a:xfrm>
            <a:off x="2835034" y="7281817"/>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8" name="Oval 157">
            <a:extLst>
              <a:ext uri="{FF2B5EF4-FFF2-40B4-BE49-F238E27FC236}">
                <a16:creationId xmlns:a16="http://schemas.microsoft.com/office/drawing/2014/main" id="{9307C2BB-FCD6-91C7-27EC-B249B2DE9388}"/>
              </a:ext>
            </a:extLst>
          </p:cNvPr>
          <p:cNvSpPr>
            <a:spLocks noChangeAspect="1"/>
          </p:cNvSpPr>
          <p:nvPr/>
        </p:nvSpPr>
        <p:spPr>
          <a:xfrm rot="10800000" flipH="1">
            <a:off x="13682974" y="7434858"/>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Google Shape;1011;p152">
            <a:extLst>
              <a:ext uri="{FF2B5EF4-FFF2-40B4-BE49-F238E27FC236}">
                <a16:creationId xmlns:a16="http://schemas.microsoft.com/office/drawing/2014/main" id="{EE4219A4-C614-72FB-0E70-F88345CC3F8B}"/>
              </a:ext>
            </a:extLst>
          </p:cNvPr>
          <p:cNvSpPr txBox="1"/>
          <p:nvPr/>
        </p:nvSpPr>
        <p:spPr>
          <a:xfrm>
            <a:off x="4053282" y="7439786"/>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Other international statellites</a:t>
            </a:r>
            <a:endParaRPr lang="en-US" sz="2400"/>
          </a:p>
        </p:txBody>
      </p:sp>
      <p:sp>
        <p:nvSpPr>
          <p:cNvPr id="23" name="Google Shape;1021;p152">
            <a:extLst>
              <a:ext uri="{FF2B5EF4-FFF2-40B4-BE49-F238E27FC236}">
                <a16:creationId xmlns:a16="http://schemas.microsoft.com/office/drawing/2014/main" id="{FCFC315E-802E-C9DC-B1AA-D6C46CBA1187}"/>
              </a:ext>
            </a:extLst>
          </p:cNvPr>
          <p:cNvSpPr txBox="1"/>
          <p:nvPr/>
        </p:nvSpPr>
        <p:spPr>
          <a:xfrm>
            <a:off x="2868092" y="3407837"/>
            <a:ext cx="10981675" cy="1631175"/>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1</a:t>
            </a:r>
            <a:r>
              <a:rPr lang="en-US" sz="2000" err="1">
                <a:solidFill>
                  <a:schemeClr val="tx2"/>
                </a:solidFill>
                <a:latin typeface="Montserrat"/>
                <a:sym typeface="Montserrat"/>
              </a:rPr>
              <a:t>: Synthetic Aperture Radar (SAR) for all-weather, day/night ocean monitoring, useful for wave height and oil spill detection.</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3</a:t>
            </a:r>
            <a:r>
              <a:rPr lang="en-US" sz="2000" err="1">
                <a:solidFill>
                  <a:schemeClr val="tx2"/>
                </a:solidFill>
                <a:latin typeface="Montserrat"/>
                <a:sym typeface="Montserrat"/>
              </a:rPr>
              <a:t>: Most relevant for Sea Surface Temperature, Ocean Color, Sea Height</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6 (Michael Freilich)</a:t>
            </a:r>
            <a:r>
              <a:rPr lang="en-US" sz="2000" err="1">
                <a:solidFill>
                  <a:schemeClr val="tx2"/>
                </a:solidFill>
                <a:latin typeface="Montserrat"/>
                <a:sym typeface="Montserrat"/>
              </a:rPr>
              <a:t>: focused on precise sea level rise measurements</a:t>
            </a:r>
          </a:p>
          <a:p>
            <a:pPr marL="342900" marR="0" lvl="0" indent="-342900" rtl="0">
              <a:spcBef>
                <a:spcPts val="0"/>
              </a:spcBef>
              <a:spcAft>
                <a:spcPts val="0"/>
              </a:spcAft>
              <a:buFont typeface="Arial" panose="020B0604020202020204" pitchFamily="34" charset="0"/>
              <a:buChar char="•"/>
            </a:pPr>
            <a:endParaRPr lang="en-US" sz="2000" err="1">
              <a:solidFill>
                <a:schemeClr val="tx2"/>
              </a:solidFill>
              <a:latin typeface="Montserrat"/>
              <a:sym typeface="Montserrat"/>
            </a:endParaRPr>
          </a:p>
        </p:txBody>
      </p:sp>
      <p:sp>
        <p:nvSpPr>
          <p:cNvPr id="32" name="Bent Arrow 31">
            <a:extLst>
              <a:ext uri="{FF2B5EF4-FFF2-40B4-BE49-F238E27FC236}">
                <a16:creationId xmlns:a16="http://schemas.microsoft.com/office/drawing/2014/main" id="{26B95A87-8D65-8EF0-92A3-71A2825C69D1}"/>
              </a:ext>
            </a:extLst>
          </p:cNvPr>
          <p:cNvSpPr/>
          <p:nvPr/>
        </p:nvSpPr>
        <p:spPr>
          <a:xfrm rot="5400000">
            <a:off x="11283949" y="4013467"/>
            <a:ext cx="5553139" cy="3610950"/>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9" name="Rounded Rectangle 148">
            <a:extLst>
              <a:ext uri="{FF2B5EF4-FFF2-40B4-BE49-F238E27FC236}">
                <a16:creationId xmlns:a16="http://schemas.microsoft.com/office/drawing/2014/main" id="{85761A77-2747-0600-9D69-FEBE8308DE0A}"/>
              </a:ext>
            </a:extLst>
          </p:cNvPr>
          <p:cNvSpPr/>
          <p:nvPr/>
        </p:nvSpPr>
        <p:spPr>
          <a:xfrm>
            <a:off x="2868093" y="261032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2" name="Google Shape;1013;p152">
            <a:extLst>
              <a:ext uri="{FF2B5EF4-FFF2-40B4-BE49-F238E27FC236}">
                <a16:creationId xmlns:a16="http://schemas.microsoft.com/office/drawing/2014/main" id="{C9E87DE2-8A0D-DD94-3596-5811495482D7}"/>
              </a:ext>
            </a:extLst>
          </p:cNvPr>
          <p:cNvSpPr txBox="1"/>
          <p:nvPr/>
        </p:nvSpPr>
        <p:spPr>
          <a:xfrm>
            <a:off x="4053282" y="2830715"/>
            <a:ext cx="8140305"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Sentinel Satellites (ESA – Copernicus Programme)</a:t>
            </a:r>
            <a:endParaRPr lang="en-US" sz="2400"/>
          </a:p>
        </p:txBody>
      </p:sp>
      <p:sp>
        <p:nvSpPr>
          <p:cNvPr id="151" name="Oval 150">
            <a:extLst>
              <a:ext uri="{FF2B5EF4-FFF2-40B4-BE49-F238E27FC236}">
                <a16:creationId xmlns:a16="http://schemas.microsoft.com/office/drawing/2014/main" id="{58611CB4-33D3-A584-0797-5F02F8D7E6FE}"/>
              </a:ext>
            </a:extLst>
          </p:cNvPr>
          <p:cNvSpPr>
            <a:spLocks noChangeAspect="1"/>
          </p:cNvSpPr>
          <p:nvPr/>
        </p:nvSpPr>
        <p:spPr>
          <a:xfrm>
            <a:off x="13715894" y="2901398"/>
            <a:ext cx="277893"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 Placeholder 2">
            <a:extLst>
              <a:ext uri="{FF2B5EF4-FFF2-40B4-BE49-F238E27FC236}">
                <a16:creationId xmlns:a16="http://schemas.microsoft.com/office/drawing/2014/main" id="{D4B43606-1DA3-5BCA-5D4C-B69D22F7D518}"/>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125" name="Rounded Rectangle 124">
            <a:extLst>
              <a:ext uri="{FF2B5EF4-FFF2-40B4-BE49-F238E27FC236}">
                <a16:creationId xmlns:a16="http://schemas.microsoft.com/office/drawing/2014/main" id="{FEC7587B-F509-8970-DDC2-045CF1A204A3}"/>
              </a:ext>
            </a:extLst>
          </p:cNvPr>
          <p:cNvSpPr/>
          <p:nvPr/>
        </p:nvSpPr>
        <p:spPr>
          <a:xfrm>
            <a:off x="2868093" y="926154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26" name="Google Shape;1013;p152">
            <a:extLst>
              <a:ext uri="{FF2B5EF4-FFF2-40B4-BE49-F238E27FC236}">
                <a16:creationId xmlns:a16="http://schemas.microsoft.com/office/drawing/2014/main" id="{52DA6CBB-D2CD-9660-AB7C-BE404A4F1627}"/>
              </a:ext>
            </a:extLst>
          </p:cNvPr>
          <p:cNvSpPr txBox="1"/>
          <p:nvPr/>
        </p:nvSpPr>
        <p:spPr>
          <a:xfrm>
            <a:off x="4053282" y="9481935"/>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Air-based Platforms</a:t>
            </a:r>
            <a:endParaRPr lang="en-US" sz="2400">
              <a:solidFill>
                <a:schemeClr val="accent4"/>
              </a:solidFill>
            </a:endParaRPr>
          </a:p>
        </p:txBody>
      </p:sp>
      <p:sp>
        <p:nvSpPr>
          <p:cNvPr id="127" name="Oval 126">
            <a:extLst>
              <a:ext uri="{FF2B5EF4-FFF2-40B4-BE49-F238E27FC236}">
                <a16:creationId xmlns:a16="http://schemas.microsoft.com/office/drawing/2014/main" id="{CCFE0648-5186-F13D-CC31-571733F85B8C}"/>
              </a:ext>
            </a:extLst>
          </p:cNvPr>
          <p:cNvSpPr>
            <a:spLocks noChangeAspect="1"/>
          </p:cNvSpPr>
          <p:nvPr/>
        </p:nvSpPr>
        <p:spPr>
          <a:xfrm>
            <a:off x="13715894" y="9552618"/>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a:extLst>
              <a:ext uri="{FF2B5EF4-FFF2-40B4-BE49-F238E27FC236}">
                <a16:creationId xmlns:a16="http://schemas.microsoft.com/office/drawing/2014/main" id="{E8B6B2DD-55D4-D255-EFDE-72CB97C88027}"/>
              </a:ext>
            </a:extLst>
          </p:cNvPr>
          <p:cNvSpPr/>
          <p:nvPr/>
        </p:nvSpPr>
        <p:spPr>
          <a:xfrm>
            <a:off x="2868093" y="10747226"/>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35" name="Google Shape;1013;p152">
            <a:extLst>
              <a:ext uri="{FF2B5EF4-FFF2-40B4-BE49-F238E27FC236}">
                <a16:creationId xmlns:a16="http://schemas.microsoft.com/office/drawing/2014/main" id="{8F32167C-03DB-4CD4-2A50-1428435E08AA}"/>
              </a:ext>
            </a:extLst>
          </p:cNvPr>
          <p:cNvSpPr txBox="1"/>
          <p:nvPr/>
        </p:nvSpPr>
        <p:spPr>
          <a:xfrm>
            <a:off x="4053282" y="10967619"/>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Water-based Platforms</a:t>
            </a:r>
            <a:endParaRPr lang="en-US" sz="2400">
              <a:solidFill>
                <a:schemeClr val="accent4"/>
              </a:solidFill>
            </a:endParaRPr>
          </a:p>
        </p:txBody>
      </p:sp>
      <p:sp>
        <p:nvSpPr>
          <p:cNvPr id="136" name="Oval 135">
            <a:extLst>
              <a:ext uri="{FF2B5EF4-FFF2-40B4-BE49-F238E27FC236}">
                <a16:creationId xmlns:a16="http://schemas.microsoft.com/office/drawing/2014/main" id="{83EB2785-3677-1E86-8B58-DE49517FA771}"/>
              </a:ext>
            </a:extLst>
          </p:cNvPr>
          <p:cNvSpPr>
            <a:spLocks noChangeAspect="1"/>
          </p:cNvSpPr>
          <p:nvPr/>
        </p:nvSpPr>
        <p:spPr>
          <a:xfrm>
            <a:off x="13715894" y="11038302"/>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Google Shape;1021;p152">
            <a:extLst>
              <a:ext uri="{FF2B5EF4-FFF2-40B4-BE49-F238E27FC236}">
                <a16:creationId xmlns:a16="http://schemas.microsoft.com/office/drawing/2014/main" id="{744EE4D5-3AE1-C3A8-8B09-3F2AA2E82599}"/>
              </a:ext>
            </a:extLst>
          </p:cNvPr>
          <p:cNvSpPr txBox="1"/>
          <p:nvPr/>
        </p:nvSpPr>
        <p:spPr>
          <a:xfrm>
            <a:off x="2868708" y="10039380"/>
            <a:ext cx="8310181" cy="707846"/>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accent4"/>
                </a:solidFill>
                <a:latin typeface="Montserrat"/>
                <a:sym typeface="Montserrat"/>
              </a:rPr>
              <a:t>CASEI</a:t>
            </a:r>
            <a:r>
              <a:rPr lang="en-US" sz="2000" err="1">
                <a:solidFill>
                  <a:schemeClr val="accent4"/>
                </a:solidFill>
                <a:latin typeface="Montserrat"/>
                <a:sym typeface="Montserrat"/>
              </a:rPr>
              <a:t>: Catalog of Archived Suborbital  Earth Science Investigations, airborne and field data</a:t>
            </a:r>
          </a:p>
        </p:txBody>
      </p:sp>
      <p:grpSp>
        <p:nvGrpSpPr>
          <p:cNvPr id="120" name="Group 119">
            <a:extLst>
              <a:ext uri="{FF2B5EF4-FFF2-40B4-BE49-F238E27FC236}">
                <a16:creationId xmlns:a16="http://schemas.microsoft.com/office/drawing/2014/main" id="{7515C1A2-A535-4329-7212-3DCA6842136E}"/>
              </a:ext>
            </a:extLst>
          </p:cNvPr>
          <p:cNvGrpSpPr/>
          <p:nvPr/>
        </p:nvGrpSpPr>
        <p:grpSpPr>
          <a:xfrm>
            <a:off x="14641860" y="7722890"/>
            <a:ext cx="2736303" cy="1019880"/>
            <a:chOff x="12021622" y="7575631"/>
            <a:chExt cx="4037678" cy="1019880"/>
          </a:xfrm>
        </p:grpSpPr>
        <p:sp>
          <p:nvSpPr>
            <p:cNvPr id="61" name="Rounded Rectangle 60">
              <a:extLst>
                <a:ext uri="{FF2B5EF4-FFF2-40B4-BE49-F238E27FC236}">
                  <a16:creationId xmlns:a16="http://schemas.microsoft.com/office/drawing/2014/main" id="{E1ACEAB1-724E-7377-5E76-477DE3690A15}"/>
                </a:ext>
              </a:extLst>
            </p:cNvPr>
            <p:cNvSpPr/>
            <p:nvPr/>
          </p:nvSpPr>
          <p:spPr>
            <a:xfrm>
              <a:off x="12021622" y="7575631"/>
              <a:ext cx="4037678" cy="1019880"/>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 name="Google Shape;1021;p152">
              <a:extLst>
                <a:ext uri="{FF2B5EF4-FFF2-40B4-BE49-F238E27FC236}">
                  <a16:creationId xmlns:a16="http://schemas.microsoft.com/office/drawing/2014/main" id="{489417B8-0986-E36A-FFBB-F2D2CF5804E4}"/>
                </a:ext>
              </a:extLst>
            </p:cNvPr>
            <p:cNvSpPr txBox="1">
              <a:spLocks/>
            </p:cNvSpPr>
            <p:nvPr/>
          </p:nvSpPr>
          <p:spPr>
            <a:xfrm>
              <a:off x="12298298" y="7670093"/>
              <a:ext cx="3484326" cy="830956"/>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2400" b="1">
                  <a:solidFill>
                    <a:schemeClr val="bg1"/>
                  </a:solidFill>
                  <a:latin typeface="Montserrat"/>
                  <a:sym typeface="Montserrat"/>
                </a:rPr>
                <a:t>Foundation Model</a:t>
              </a:r>
            </a:p>
          </p:txBody>
        </p:sp>
      </p:grpSp>
      <p:sp>
        <p:nvSpPr>
          <p:cNvPr id="155" name="Google Shape;1021;p152">
            <a:extLst>
              <a:ext uri="{FF2B5EF4-FFF2-40B4-BE49-F238E27FC236}">
                <a16:creationId xmlns:a16="http://schemas.microsoft.com/office/drawing/2014/main" id="{DEADF6B5-2913-4456-0085-25D270AE528F}"/>
              </a:ext>
            </a:extLst>
          </p:cNvPr>
          <p:cNvSpPr txBox="1"/>
          <p:nvPr/>
        </p:nvSpPr>
        <p:spPr>
          <a:xfrm>
            <a:off x="2868708" y="11603812"/>
            <a:ext cx="8310181"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err="1">
                <a:solidFill>
                  <a:schemeClr val="accent4"/>
                </a:solidFill>
                <a:latin typeface="Montserrat"/>
                <a:sym typeface="Montserrat"/>
              </a:rPr>
              <a:t>Data from ships, boats, and buoys advance our knowledge of how changes in Earth’s systems affect water quality, water supply, and sea level rise.</a:t>
            </a:r>
          </a:p>
        </p:txBody>
      </p:sp>
      <p:pic>
        <p:nvPicPr>
          <p:cNvPr id="4" name="Graphic 3" descr="Satellite outline">
            <a:extLst>
              <a:ext uri="{FF2B5EF4-FFF2-40B4-BE49-F238E27FC236}">
                <a16:creationId xmlns:a16="http://schemas.microsoft.com/office/drawing/2014/main" id="{0209BEA8-69DF-411E-CA3C-BB94C10EB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573" y="4162527"/>
            <a:ext cx="687003" cy="687003"/>
          </a:xfrm>
          <a:prstGeom prst="rect">
            <a:avLst/>
          </a:prstGeom>
        </p:spPr>
      </p:pic>
      <p:pic>
        <p:nvPicPr>
          <p:cNvPr id="1030" name="Picture 6">
            <a:extLst>
              <a:ext uri="{FF2B5EF4-FFF2-40B4-BE49-F238E27FC236}">
                <a16:creationId xmlns:a16="http://schemas.microsoft.com/office/drawing/2014/main" id="{566BAA90-0AB5-9EE9-8745-D2E21B79A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616" y="5019604"/>
            <a:ext cx="788569" cy="659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DE09673-39F3-9A3F-0B2E-33F3706E67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2573"/>
          <a:stretch/>
        </p:blipFill>
        <p:spPr bwMode="auto">
          <a:xfrm>
            <a:off x="3178377" y="2687757"/>
            <a:ext cx="590274" cy="6150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Earth globe: Africa and Europe with solid fill">
            <a:extLst>
              <a:ext uri="{FF2B5EF4-FFF2-40B4-BE49-F238E27FC236}">
                <a16:creationId xmlns:a16="http://schemas.microsoft.com/office/drawing/2014/main" id="{E059370D-198E-0B15-E76D-62DA256CB8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2875" y="7307452"/>
            <a:ext cx="624548" cy="624548"/>
          </a:xfrm>
          <a:prstGeom prst="rect">
            <a:avLst/>
          </a:prstGeom>
        </p:spPr>
      </p:pic>
      <p:pic>
        <p:nvPicPr>
          <p:cNvPr id="8" name="Graphic 7" descr="Garbage outline">
            <a:extLst>
              <a:ext uri="{FF2B5EF4-FFF2-40B4-BE49-F238E27FC236}">
                <a16:creationId xmlns:a16="http://schemas.microsoft.com/office/drawing/2014/main" id="{89FFA8C5-20FE-9325-A631-8EEC305566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28059" y="5554036"/>
            <a:ext cx="914400" cy="914400"/>
          </a:xfrm>
          <a:prstGeom prst="rect">
            <a:avLst/>
          </a:prstGeom>
        </p:spPr>
      </p:pic>
      <p:pic>
        <p:nvPicPr>
          <p:cNvPr id="10" name="Graphic 9" descr="Fishing outline">
            <a:extLst>
              <a:ext uri="{FF2B5EF4-FFF2-40B4-BE49-F238E27FC236}">
                <a16:creationId xmlns:a16="http://schemas.microsoft.com/office/drawing/2014/main" id="{BF9BD1BF-1A0C-813A-B0B2-D3435BA42E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78363" y="9424778"/>
            <a:ext cx="1106424" cy="1106424"/>
          </a:xfrm>
          <a:prstGeom prst="rect">
            <a:avLst/>
          </a:prstGeom>
        </p:spPr>
      </p:pic>
      <p:pic>
        <p:nvPicPr>
          <p:cNvPr id="19" name="Graphic 18" descr="Airplane outline">
            <a:extLst>
              <a:ext uri="{FF2B5EF4-FFF2-40B4-BE49-F238E27FC236}">
                <a16:creationId xmlns:a16="http://schemas.microsoft.com/office/drawing/2014/main" id="{D6B882AF-14C5-A582-6833-8D5B6AF206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6111" y="9350334"/>
            <a:ext cx="624548" cy="624548"/>
          </a:xfrm>
          <a:prstGeom prst="rect">
            <a:avLst/>
          </a:prstGeom>
        </p:spPr>
      </p:pic>
      <p:pic>
        <p:nvPicPr>
          <p:cNvPr id="21" name="Graphic 20" descr="Lighthouse scene with solid fill">
            <a:extLst>
              <a:ext uri="{FF2B5EF4-FFF2-40B4-BE49-F238E27FC236}">
                <a16:creationId xmlns:a16="http://schemas.microsoft.com/office/drawing/2014/main" id="{7C973EC6-DCF1-7D8A-3DBB-BA130AACD6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4595" y="10856015"/>
            <a:ext cx="567771" cy="567771"/>
          </a:xfrm>
          <a:prstGeom prst="rect">
            <a:avLst/>
          </a:prstGeom>
        </p:spPr>
      </p:pic>
    </p:spTree>
    <p:extLst>
      <p:ext uri="{BB962C8B-B14F-4D97-AF65-F5344CB8AC3E}">
        <p14:creationId xmlns:p14="http://schemas.microsoft.com/office/powerpoint/2010/main" val="36620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2A1B-F753-A707-B267-4E9A95940D9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EB722085-BEC6-8C79-BD7D-40D9A9208229}"/>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87F793EC-FFC3-D90A-528C-55D5AE97910A}"/>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work alongside current research to optimize our approach to build our foundational model</a:t>
            </a:r>
          </a:p>
        </p:txBody>
      </p:sp>
      <p:sp>
        <p:nvSpPr>
          <p:cNvPr id="8" name="Rounded Rectangle 7">
            <a:extLst>
              <a:ext uri="{FF2B5EF4-FFF2-40B4-BE49-F238E27FC236}">
                <a16:creationId xmlns:a16="http://schemas.microsoft.com/office/drawing/2014/main" id="{E047AD0A-DA28-63F0-5F12-8B51EC9C8693}"/>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sp>
        <p:nvSpPr>
          <p:cNvPr id="4" name="Google Shape;3948;ge3632631ac_0_100">
            <a:extLst>
              <a:ext uri="{FF2B5EF4-FFF2-40B4-BE49-F238E27FC236}">
                <a16:creationId xmlns:a16="http://schemas.microsoft.com/office/drawing/2014/main" id="{7304B508-4C0A-5458-D086-D8899BC7946C}"/>
              </a:ext>
            </a:extLst>
          </p:cNvPr>
          <p:cNvSpPr txBox="1">
            <a:spLocks/>
          </p:cNvSpPr>
          <p:nvPr/>
        </p:nvSpPr>
        <p:spPr>
          <a:xfrm>
            <a:off x="17954227" y="4703192"/>
            <a:ext cx="5668475" cy="6647974"/>
          </a:xfrm>
          <a:prstGeom prst="rect">
            <a:avLst/>
          </a:prstGeom>
          <a:noFill/>
          <a:ln>
            <a:noFill/>
          </a:ln>
        </p:spPr>
        <p:txBody>
          <a:bodyPr spcFirstLastPara="1" wrap="square" lIns="0" tIns="0" rIns="0" bIns="0" anchor="t" anchorCtr="0">
            <a:spAutoFit/>
          </a:bodyPr>
          <a:lstStyle/>
          <a:p>
            <a:pPr marL="457200" indent="-457200">
              <a:lnSpc>
                <a:spcPct val="150000"/>
              </a:lnSpc>
              <a:buFont typeface="+mj-lt"/>
              <a:buAutoNum type="arabicPeriod"/>
            </a:pPr>
            <a:r>
              <a:rPr lang="en-GB" sz="2400" dirty="0">
                <a:solidFill>
                  <a:srgbClr val="000000"/>
                </a:solidFill>
                <a:latin typeface="Montserrat" pitchFamily="2" charset="77"/>
              </a:rPr>
              <a:t>Consider NLP / transformer-based architecture</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Ensure availability of a wider dataset for different set of spatial &amp; temporal variables that extend beyond ocean characteristic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Decompose weather data into trend, seasonal, residual components and train the model on these individually</a:t>
            </a:r>
          </a:p>
        </p:txBody>
      </p:sp>
      <p:grpSp>
        <p:nvGrpSpPr>
          <p:cNvPr id="21" name="Group 20">
            <a:extLst>
              <a:ext uri="{FF2B5EF4-FFF2-40B4-BE49-F238E27FC236}">
                <a16:creationId xmlns:a16="http://schemas.microsoft.com/office/drawing/2014/main" id="{60FCD656-8E18-F1F2-2492-98DFC6CA9A14}"/>
              </a:ext>
            </a:extLst>
          </p:cNvPr>
          <p:cNvGrpSpPr/>
          <p:nvPr/>
        </p:nvGrpSpPr>
        <p:grpSpPr>
          <a:xfrm>
            <a:off x="841637" y="4205388"/>
            <a:ext cx="16392510" cy="8494632"/>
            <a:chOff x="841637" y="3845498"/>
            <a:chExt cx="15736521" cy="2293365"/>
          </a:xfrm>
        </p:grpSpPr>
        <p:sp>
          <p:nvSpPr>
            <p:cNvPr id="14" name="Rounded Rectangle 13">
              <a:extLst>
                <a:ext uri="{FF2B5EF4-FFF2-40B4-BE49-F238E27FC236}">
                  <a16:creationId xmlns:a16="http://schemas.microsoft.com/office/drawing/2014/main" id="{579A4252-81B8-1715-40D3-A20085183A07}"/>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F8B6C23-7B1C-67CF-522C-D5E8CF5A7AF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3206C903-F7A1-B007-A34B-823E5F8D4DCD}"/>
              </a:ext>
            </a:extLst>
          </p:cNvPr>
          <p:cNvSpPr txBox="1">
            <a:spLocks/>
          </p:cNvSpPr>
          <p:nvPr/>
        </p:nvSpPr>
        <p:spPr>
          <a:xfrm>
            <a:off x="1334039" y="4759385"/>
            <a:ext cx="15407706" cy="7386638"/>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NLP-Based Weather Forecasting: </a:t>
            </a:r>
            <a:r>
              <a:rPr lang="en-GB" sz="2400" dirty="0">
                <a:latin typeface="Montserrat" pitchFamily="2" charset="77"/>
              </a:rPr>
              <a:t>Uses NLP architectures to model weather data as sequential measurements (e.g., temperature, humidity, wind speed) with dependencies across time and space.</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trained Language Model (PLM) for Weather: </a:t>
            </a:r>
            <a:r>
              <a:rPr lang="en-GB" sz="2400" dirty="0">
                <a:latin typeface="Montserrat" pitchFamily="2" charset="77"/>
              </a:rPr>
              <a:t>Trained on a large corpus of multivariate weather variables to predict the next event in a sequence, enabling it to handle sequential weather patterns beyond seen data.</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Input-Output Representation</a:t>
            </a:r>
            <a:r>
              <a:rPr lang="en-GB" sz="2400" b="1" i="1" dirty="0">
                <a:latin typeface="Montserrat" pitchFamily="2" charset="77"/>
              </a:rPr>
              <a:t>:  </a:t>
            </a:r>
            <a:r>
              <a:rPr lang="en-GB" sz="2400" dirty="0">
                <a:latin typeface="Montserrat" pitchFamily="2" charset="77"/>
              </a:rPr>
              <a:t>modeling dependencies for improved forecasting accuracy.</a:t>
            </a:r>
            <a:br>
              <a:rPr lang="en-GB" sz="2400" b="1" i="1" dirty="0">
                <a:latin typeface="Montserrat" pitchFamily="2" charset="77"/>
              </a:rPr>
            </a:br>
            <a:r>
              <a:rPr lang="en-GB" sz="2400" i="1" dirty="0">
                <a:latin typeface="Montserrat" pitchFamily="2" charset="77"/>
              </a:rPr>
              <a:t>Maps [Temperature, Humidity, Wind Speed] → [Future Weather Variables]</a:t>
            </a:r>
          </a:p>
          <a:p>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Adapters for Weather-Specific Knowledge: </a:t>
            </a:r>
            <a:r>
              <a:rPr lang="en-GB" sz="2400" dirty="0">
                <a:latin typeface="Montserrat" pitchFamily="2" charset="77"/>
              </a:rPr>
              <a:t>Lightweight adapters fine-tune the PLM for weather forecasting, making it aware of trends, seasonality, and residuals using domain-specific adjustment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 Data Decomposition: </a:t>
            </a:r>
            <a:r>
              <a:rPr lang="en-GB" sz="2400" dirty="0">
                <a:latin typeface="Montserrat" pitchFamily="2" charset="77"/>
              </a:rPr>
              <a:t>Splits input into trend, seasonal, and residual components, with each processed separately via task-specific adapters to capture unique behavior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Long-Term Pattern Recognition: </a:t>
            </a:r>
            <a:r>
              <a:rPr lang="en-GB" sz="2400" dirty="0">
                <a:latin typeface="Montserrat" pitchFamily="2" charset="77"/>
              </a:rPr>
              <a:t>Excels at identifying long-term trends, seasonal variations, and anomalies in weather sequences, such as how temperature affects wind speed.</a:t>
            </a:r>
            <a:endParaRPr lang="de-DE" sz="2400" dirty="0">
              <a:solidFill>
                <a:srgbClr val="000000"/>
              </a:solidFill>
              <a:latin typeface="Montserrat" pitchFamily="2" charset="77"/>
            </a:endParaRPr>
          </a:p>
        </p:txBody>
      </p:sp>
      <p:sp>
        <p:nvSpPr>
          <p:cNvPr id="11" name="TextBox 10">
            <a:extLst>
              <a:ext uri="{FF2B5EF4-FFF2-40B4-BE49-F238E27FC236}">
                <a16:creationId xmlns:a16="http://schemas.microsoft.com/office/drawing/2014/main" id="{3FE8BCE5-4D2A-D9C0-326C-A33E733904CA}"/>
              </a:ext>
            </a:extLst>
          </p:cNvPr>
          <p:cNvSpPr txBox="1"/>
          <p:nvPr/>
        </p:nvSpPr>
        <p:spPr>
          <a:xfrm>
            <a:off x="841637" y="3496934"/>
            <a:ext cx="15710859" cy="583878"/>
          </a:xfrm>
          <a:prstGeom prst="rect">
            <a:avLst/>
          </a:prstGeom>
          <a:noFill/>
        </p:spPr>
        <p:txBody>
          <a:bodyPr wrap="square">
            <a:spAutoFit/>
          </a:bodyPr>
          <a:lstStyle/>
          <a:p>
            <a:pPr>
              <a:lnSpc>
                <a:spcPct val="150000"/>
              </a:lnSpc>
            </a:pPr>
            <a:r>
              <a:rPr lang="en-GB" sz="2400" b="1" dirty="0">
                <a:latin typeface="Montserrat" pitchFamily="2" charset="77"/>
              </a:rPr>
              <a:t>Personalized Adapter for Large Meteorology Model on Devices (PLM) (Chen et. al, 2024)</a:t>
            </a:r>
          </a:p>
        </p:txBody>
      </p:sp>
      <p:sp>
        <p:nvSpPr>
          <p:cNvPr id="30" name="TextBox 29">
            <a:extLst>
              <a:ext uri="{FF2B5EF4-FFF2-40B4-BE49-F238E27FC236}">
                <a16:creationId xmlns:a16="http://schemas.microsoft.com/office/drawing/2014/main" id="{B43C2A4C-6225-6736-A939-D5D882AB55A7}"/>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96985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03D44-740D-041C-BD2F-36FF3A7AD46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9E108958-9FE0-BA03-C6A5-24FE8C2E651F}"/>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B47BFDD5-639C-AE3B-91DB-0EC2A644487E}"/>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Extending our data volume and width will help us to approach the generalization of our foundational model</a:t>
            </a:r>
          </a:p>
        </p:txBody>
      </p:sp>
      <p:sp>
        <p:nvSpPr>
          <p:cNvPr id="8" name="Rounded Rectangle 7">
            <a:extLst>
              <a:ext uri="{FF2B5EF4-FFF2-40B4-BE49-F238E27FC236}">
                <a16:creationId xmlns:a16="http://schemas.microsoft.com/office/drawing/2014/main" id="{378D905F-6F3D-8427-9BC6-32876DA380A8}"/>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grpSp>
        <p:nvGrpSpPr>
          <p:cNvPr id="21" name="Group 20">
            <a:extLst>
              <a:ext uri="{FF2B5EF4-FFF2-40B4-BE49-F238E27FC236}">
                <a16:creationId xmlns:a16="http://schemas.microsoft.com/office/drawing/2014/main" id="{42394789-7131-ABD0-015E-78BEB9CBF9C2}"/>
              </a:ext>
            </a:extLst>
          </p:cNvPr>
          <p:cNvGrpSpPr/>
          <p:nvPr/>
        </p:nvGrpSpPr>
        <p:grpSpPr>
          <a:xfrm>
            <a:off x="841637" y="4786494"/>
            <a:ext cx="16392510" cy="7913526"/>
            <a:chOff x="841637" y="3845498"/>
            <a:chExt cx="15736521" cy="2293365"/>
          </a:xfrm>
        </p:grpSpPr>
        <p:sp>
          <p:nvSpPr>
            <p:cNvPr id="14" name="Rounded Rectangle 13">
              <a:extLst>
                <a:ext uri="{FF2B5EF4-FFF2-40B4-BE49-F238E27FC236}">
                  <a16:creationId xmlns:a16="http://schemas.microsoft.com/office/drawing/2014/main" id="{55B3D8A4-FBCB-141A-7D27-ABDC1A703D0A}"/>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521E018-FC33-562F-218F-79CEBD6328B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DE437466-BC73-FC02-42BC-873F1DAC1537}"/>
              </a:ext>
            </a:extLst>
          </p:cNvPr>
          <p:cNvSpPr txBox="1">
            <a:spLocks/>
          </p:cNvSpPr>
          <p:nvPr/>
        </p:nvSpPr>
        <p:spPr>
          <a:xfrm>
            <a:off x="1334039" y="5234604"/>
            <a:ext cx="15407706" cy="7017306"/>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Transformer-Based Weather Prediction: </a:t>
            </a:r>
            <a:r>
              <a:rPr lang="en-GB" sz="2400" dirty="0">
                <a:latin typeface="Montserrat" pitchFamily="2" charset="77"/>
              </a:rPr>
              <a:t>Stormer is a transformer model optimized for weather forecasting, using a randomized forecasting objective to predict weather dynamics over different time interval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Specific Embeddings: </a:t>
            </a:r>
            <a:r>
              <a:rPr lang="en-GB" sz="2400" dirty="0">
                <a:latin typeface="Montserrat" pitchFamily="2" charset="77"/>
              </a:rPr>
              <a:t>Converts multi-dimensional spatial grids into tokens, capturing climate variable interactions (e.g., pressure-temperature effects) and spatial dependencies (e.g., wind patter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Multi-Scale Training: </a:t>
            </a:r>
            <a:r>
              <a:rPr lang="en-GB" sz="2400" dirty="0">
                <a:latin typeface="Montserrat" pitchFamily="2" charset="77"/>
              </a:rPr>
              <a:t>Trained on 6, 12, and 24-hour intervals, allowing the model to learn both short-term high-frequency patterns and long-term low-frequency trends for more accurate predictio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Ensemble Forecasting Approach: </a:t>
            </a:r>
            <a:r>
              <a:rPr lang="en-GB" sz="2400" dirty="0">
                <a:latin typeface="Montserrat" pitchFamily="2" charset="77"/>
              </a:rPr>
              <a:t>Generates multiple forecasts iteratively over different time intervals and combines them via averaging or weighted aggregation, reducing prediction errors and improving robustnes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ssure-Weighted Loss Function: </a:t>
            </a:r>
            <a:r>
              <a:rPr lang="en-GB" sz="2400" dirty="0">
                <a:latin typeface="Montserrat" pitchFamily="2" charset="77"/>
              </a:rPr>
              <a:t>Assigns higher penalties for errors in pressure-sensitive regions (e.g., cyclone centers), ensuring the model prioritizes accurate forecasting in critical weather conditions.</a:t>
            </a:r>
          </a:p>
        </p:txBody>
      </p:sp>
      <p:sp>
        <p:nvSpPr>
          <p:cNvPr id="11" name="TextBox 10">
            <a:extLst>
              <a:ext uri="{FF2B5EF4-FFF2-40B4-BE49-F238E27FC236}">
                <a16:creationId xmlns:a16="http://schemas.microsoft.com/office/drawing/2014/main" id="{58AAF328-1187-A549-5D15-07C75E157869}"/>
              </a:ext>
            </a:extLst>
          </p:cNvPr>
          <p:cNvSpPr txBox="1"/>
          <p:nvPr/>
        </p:nvSpPr>
        <p:spPr>
          <a:xfrm>
            <a:off x="841637" y="3496934"/>
            <a:ext cx="15710859" cy="1137876"/>
          </a:xfrm>
          <a:prstGeom prst="rect">
            <a:avLst/>
          </a:prstGeom>
          <a:noFill/>
        </p:spPr>
        <p:txBody>
          <a:bodyPr wrap="square">
            <a:spAutoFit/>
          </a:bodyPr>
          <a:lstStyle/>
          <a:p>
            <a:pPr>
              <a:lnSpc>
                <a:spcPct val="150000"/>
              </a:lnSpc>
            </a:pPr>
            <a:r>
              <a:rPr lang="en-GB" sz="2400" b="1" dirty="0">
                <a:latin typeface="Montserrat" pitchFamily="2" charset="77"/>
              </a:rPr>
              <a:t>Scaling transformer neural networks for skilful and reliable medium-range weather forecasting (Nyugen et. al, 2023)</a:t>
            </a:r>
          </a:p>
        </p:txBody>
      </p:sp>
      <p:sp>
        <p:nvSpPr>
          <p:cNvPr id="2" name="Google Shape;3948;ge3632631ac_0_100">
            <a:extLst>
              <a:ext uri="{FF2B5EF4-FFF2-40B4-BE49-F238E27FC236}">
                <a16:creationId xmlns:a16="http://schemas.microsoft.com/office/drawing/2014/main" id="{6D05E478-5496-B886-1BA4-C1AE424C2D85}"/>
              </a:ext>
            </a:extLst>
          </p:cNvPr>
          <p:cNvSpPr txBox="1">
            <a:spLocks/>
          </p:cNvSpPr>
          <p:nvPr/>
        </p:nvSpPr>
        <p:spPr>
          <a:xfrm>
            <a:off x="17954227" y="5234604"/>
            <a:ext cx="5668475" cy="5539978"/>
          </a:xfrm>
          <a:prstGeom prst="rect">
            <a:avLst/>
          </a:prstGeom>
          <a:noFill/>
          <a:ln>
            <a:noFill/>
          </a:ln>
        </p:spPr>
        <p:txBody>
          <a:bodyPr spcFirstLastPara="1" wrap="square" lIns="0" tIns="0" rIns="0" bIns="0" anchor="t" anchorCtr="0">
            <a:spAutoFit/>
          </a:bodyPr>
          <a:lstStyle/>
          <a:p>
            <a:pPr marL="457200" lvl="0" indent="-457200" rtl="0">
              <a:lnSpc>
                <a:spcPct val="150000"/>
              </a:lnSpc>
              <a:spcAft>
                <a:spcPts val="0"/>
              </a:spcAft>
              <a:buFont typeface="+mj-lt"/>
              <a:buAutoNum type="arabicPeriod"/>
            </a:pPr>
            <a:r>
              <a:rPr lang="de-DE" sz="2400" u="none" strike="noStrike">
                <a:solidFill>
                  <a:srgbClr val="000000"/>
                </a:solidFill>
                <a:effectLst/>
                <a:latin typeface="Montserrat" pitchFamily="2" charset="77"/>
              </a:rPr>
              <a:t>Weather-specific embeddings to process this data</a:t>
            </a:r>
            <a:br>
              <a:rPr lang="de-DE" sz="2400" u="none" strike="noStrike">
                <a:solidFill>
                  <a:srgbClr val="000000"/>
                </a:solidFill>
                <a:effectLst/>
                <a:latin typeface="Montserrat" pitchFamily="2" charset="77"/>
              </a:rPr>
            </a:br>
            <a:endParaRPr lang="de-DE" sz="2400" u="none" strike="noStrike">
              <a:solidFill>
                <a:srgbClr val="000000"/>
              </a:solidFill>
              <a:effectLst/>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Train with different time intervals to capture short &amp; long-term trend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Generate multiple forecasts to create a combined forecast that minimises prediction error</a:t>
            </a:r>
          </a:p>
        </p:txBody>
      </p:sp>
      <p:sp>
        <p:nvSpPr>
          <p:cNvPr id="5" name="TextBox 4">
            <a:extLst>
              <a:ext uri="{FF2B5EF4-FFF2-40B4-BE49-F238E27FC236}">
                <a16:creationId xmlns:a16="http://schemas.microsoft.com/office/drawing/2014/main" id="{81FEF69D-3CC3-1A68-A6E5-977CCCAD0460}"/>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24181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678678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705861"/>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Gantt-Chart (Nov 2024 - Aug 2025)</a:t>
            </a:r>
          </a:p>
        </p:txBody>
      </p:sp>
      <p:sp>
        <p:nvSpPr>
          <p:cNvPr id="3" name="Oval 2">
            <a:extLst>
              <a:ext uri="{FF2B5EF4-FFF2-40B4-BE49-F238E27FC236}">
                <a16:creationId xmlns:a16="http://schemas.microsoft.com/office/drawing/2014/main" id="{05124906-C67B-FA5D-BBD7-425EB49E7B43}"/>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5" name="Oval 4">
            <a:extLst>
              <a:ext uri="{FF2B5EF4-FFF2-40B4-BE49-F238E27FC236}">
                <a16:creationId xmlns:a16="http://schemas.microsoft.com/office/drawing/2014/main" id="{12294B4B-5DD1-DB2C-6617-E706174D4C77}"/>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8" name="Oval 7">
            <a:extLst>
              <a:ext uri="{FF2B5EF4-FFF2-40B4-BE49-F238E27FC236}">
                <a16:creationId xmlns:a16="http://schemas.microsoft.com/office/drawing/2014/main" id="{A45365E3-606B-0F89-2D46-E6247916BAFF}"/>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4" name="Oval 13">
            <a:extLst>
              <a:ext uri="{FF2B5EF4-FFF2-40B4-BE49-F238E27FC236}">
                <a16:creationId xmlns:a16="http://schemas.microsoft.com/office/drawing/2014/main" id="{B87308CA-A094-E3DA-961E-73814A87ADFA}"/>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1C93486F-9B56-B44D-7C7D-F68398222A1C}"/>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5A86A2E5-BA22-1DD2-982D-3E8FA66F3270}"/>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Title 1">
            <a:extLst>
              <a:ext uri="{FF2B5EF4-FFF2-40B4-BE49-F238E27FC236}">
                <a16:creationId xmlns:a16="http://schemas.microsoft.com/office/drawing/2014/main" id="{8FEC7576-FD90-F06B-7F5E-CF5C11C0AE1F}"/>
              </a:ext>
            </a:extLst>
          </p:cNvPr>
          <p:cNvSpPr txBox="1">
            <a:spLocks/>
          </p:cNvSpPr>
          <p:nvPr/>
        </p:nvSpPr>
        <p:spPr>
          <a:xfrm>
            <a:off x="1146725" y="844297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List of tasks</a:t>
            </a:r>
          </a:p>
        </p:txBody>
      </p:sp>
      <p:sp>
        <p:nvSpPr>
          <p:cNvPr id="11" name="Oval 10">
            <a:extLst>
              <a:ext uri="{FF2B5EF4-FFF2-40B4-BE49-F238E27FC236}">
                <a16:creationId xmlns:a16="http://schemas.microsoft.com/office/drawing/2014/main" id="{D3F0016D-B944-F3B1-16A0-5BD110B7952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86DB2145-0BC1-AD23-E44A-881AE055011B}"/>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E1E11D6D-BF20-FFAC-B6D1-A656F1B3A0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5C3C28E2-5268-76FE-0A1E-9C64421D4B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00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6B4E-54B7-D190-B146-3E40A70F9DD2}"/>
            </a:ext>
          </a:extLst>
        </p:cNvPr>
        <p:cNvGrpSpPr/>
        <p:nvPr/>
      </p:nvGrpSpPr>
      <p:grpSpPr>
        <a:xfrm>
          <a:off x="0" y="0"/>
          <a:ext cx="0" cy="0"/>
          <a:chOff x="0" y="0"/>
          <a:chExt cx="0" cy="0"/>
        </a:xfrm>
      </p:grpSpPr>
      <p:sp>
        <p:nvSpPr>
          <p:cNvPr id="5" name="Freeform: Shape 19">
            <a:extLst>
              <a:ext uri="{FF2B5EF4-FFF2-40B4-BE49-F238E27FC236}">
                <a16:creationId xmlns:a16="http://schemas.microsoft.com/office/drawing/2014/main" id="{2A6B8F73-335E-4430-8143-AA1160F65EA9}"/>
              </a:ext>
            </a:extLst>
          </p:cNvPr>
          <p:cNvSpPr>
            <a:spLocks noChangeArrowheads="1"/>
          </p:cNvSpPr>
          <p:nvPr/>
        </p:nvSpPr>
        <p:spPr bwMode="auto">
          <a:xfrm>
            <a:off x="16922920" y="6884804"/>
            <a:ext cx="231943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Work on foundational model</a:t>
            </a:r>
          </a:p>
        </p:txBody>
      </p:sp>
      <p:sp>
        <p:nvSpPr>
          <p:cNvPr id="78" name="Freeform: Shape 19">
            <a:extLst>
              <a:ext uri="{FF2B5EF4-FFF2-40B4-BE49-F238E27FC236}">
                <a16:creationId xmlns:a16="http://schemas.microsoft.com/office/drawing/2014/main" id="{77F0E9A4-7511-9DF1-1054-FBCB9B0E3F0C}"/>
              </a:ext>
            </a:extLst>
          </p:cNvPr>
          <p:cNvSpPr>
            <a:spLocks noChangeArrowheads="1"/>
          </p:cNvSpPr>
          <p:nvPr/>
        </p:nvSpPr>
        <p:spPr bwMode="auto">
          <a:xfrm>
            <a:off x="14918584" y="5733385"/>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Select </a:t>
            </a:r>
          </a:p>
          <a:p>
            <a:pPr algn="ctr"/>
            <a:r>
              <a:rPr lang="en-US" sz="2000" dirty="0" err="1">
                <a:solidFill>
                  <a:schemeClr val="bg1"/>
                </a:solidFill>
                <a:latin typeface="Montserrat" pitchFamily="2" charset="77"/>
              </a:rPr>
              <a:t>final model</a:t>
            </a:r>
            <a:endParaRPr lang="en-US" sz="2000" dirty="0">
              <a:solidFill>
                <a:schemeClr val="bg1"/>
              </a:solidFill>
              <a:latin typeface="Montserrat" pitchFamily="2" charset="77"/>
            </a:endParaRPr>
          </a:p>
        </p:txBody>
      </p:sp>
      <p:graphicFrame>
        <p:nvGraphicFramePr>
          <p:cNvPr id="2" name="Objekt 1" hidden="1">
            <a:extLst>
              <a:ext uri="{FF2B5EF4-FFF2-40B4-BE49-F238E27FC236}">
                <a16:creationId xmlns:a16="http://schemas.microsoft.com/office/drawing/2014/main" id="{0FF42999-CF4F-22D6-324D-19BF9863119E}"/>
              </a:ext>
            </a:extLst>
          </p:cNvPr>
          <p:cNvGraphicFramePr>
            <a:graphicFrameLocks noChangeAspect="1"/>
          </p:cNvGraphicFramePr>
          <p:nvPr>
            <p:custDataLst>
              <p:tags r:id="rId1"/>
            </p:custDataLst>
          </p:nvPr>
        </p:nvGraphicFramePr>
        <p:xfrm>
          <a:off x="4350" y="2217"/>
          <a:ext cx="163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0FF42999-CF4F-22D6-324D-19BF9863119E}"/>
                          </a:ext>
                        </a:extLst>
                      </p:cNvPr>
                      <p:cNvPicPr/>
                      <p:nvPr/>
                    </p:nvPicPr>
                    <p:blipFill>
                      <a:blip r:embed="rId5"/>
                      <a:stretch>
                        <a:fillRect/>
                      </a:stretch>
                    </p:blipFill>
                    <p:spPr>
                      <a:xfrm>
                        <a:off x="4350" y="2217"/>
                        <a:ext cx="1636" cy="2116"/>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613F2143-B959-E70F-007F-922DF953EF21}"/>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The next step in our project is to gather more data and structure it to be able to train our model</a:t>
            </a:r>
          </a:p>
        </p:txBody>
      </p:sp>
      <p:sp>
        <p:nvSpPr>
          <p:cNvPr id="6" name="Freeform: Shape 19">
            <a:extLst>
              <a:ext uri="{FF2B5EF4-FFF2-40B4-BE49-F238E27FC236}">
                <a16:creationId xmlns:a16="http://schemas.microsoft.com/office/drawing/2014/main" id="{3CB4F95C-960C-7A95-F61C-A3B6749D2999}"/>
              </a:ext>
            </a:extLst>
          </p:cNvPr>
          <p:cNvSpPr>
            <a:spLocks noChangeArrowheads="1"/>
          </p:cNvSpPr>
          <p:nvPr/>
        </p:nvSpPr>
        <p:spPr bwMode="auto">
          <a:xfrm>
            <a:off x="6921260" y="3531278"/>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Gather most relevant satellite and water quality train data</a:t>
            </a:r>
          </a:p>
        </p:txBody>
      </p:sp>
      <p:grpSp>
        <p:nvGrpSpPr>
          <p:cNvPr id="39" name="Group 38">
            <a:extLst>
              <a:ext uri="{FF2B5EF4-FFF2-40B4-BE49-F238E27FC236}">
                <a16:creationId xmlns:a16="http://schemas.microsoft.com/office/drawing/2014/main" id="{D9C376B7-8BD0-B429-035E-CD2151D746BB}"/>
              </a:ext>
            </a:extLst>
          </p:cNvPr>
          <p:cNvGrpSpPr/>
          <p:nvPr/>
        </p:nvGrpSpPr>
        <p:grpSpPr>
          <a:xfrm>
            <a:off x="2964916" y="3762497"/>
            <a:ext cx="3956344" cy="484682"/>
            <a:chOff x="2964782" y="3863856"/>
            <a:chExt cx="3956401" cy="484689"/>
          </a:xfrm>
        </p:grpSpPr>
        <p:sp>
          <p:nvSpPr>
            <p:cNvPr id="156" name="Title 1">
              <a:extLst>
                <a:ext uri="{FF2B5EF4-FFF2-40B4-BE49-F238E27FC236}">
                  <a16:creationId xmlns:a16="http://schemas.microsoft.com/office/drawing/2014/main" id="{542AA04B-CB50-1CE2-0B60-85D726DD98DC}"/>
                </a:ext>
              </a:extLst>
            </p:cNvPr>
            <p:cNvSpPr txBox="1">
              <a:spLocks/>
            </p:cNvSpPr>
            <p:nvPr/>
          </p:nvSpPr>
          <p:spPr>
            <a:xfrm>
              <a:off x="3259633" y="3863856"/>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Collection</a:t>
              </a:r>
            </a:p>
          </p:txBody>
        </p:sp>
        <p:sp>
          <p:nvSpPr>
            <p:cNvPr id="298" name="Oval 297">
              <a:extLst>
                <a:ext uri="{FF2B5EF4-FFF2-40B4-BE49-F238E27FC236}">
                  <a16:creationId xmlns:a16="http://schemas.microsoft.com/office/drawing/2014/main" id="{810B16D0-D1FB-1E90-2BFD-A554F222E39F}"/>
                </a:ext>
              </a:extLst>
            </p:cNvPr>
            <p:cNvSpPr/>
            <p:nvPr/>
          </p:nvSpPr>
          <p:spPr bwMode="gray">
            <a:xfrm>
              <a:off x="2964782" y="3974801"/>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1</a:t>
              </a:r>
            </a:p>
          </p:txBody>
        </p:sp>
      </p:grpSp>
      <p:grpSp>
        <p:nvGrpSpPr>
          <p:cNvPr id="165" name="Group 164">
            <a:extLst>
              <a:ext uri="{FF2B5EF4-FFF2-40B4-BE49-F238E27FC236}">
                <a16:creationId xmlns:a16="http://schemas.microsoft.com/office/drawing/2014/main" id="{AD5A7E13-8E89-361E-8905-69B346D0DFBA}"/>
              </a:ext>
            </a:extLst>
          </p:cNvPr>
          <p:cNvGrpSpPr/>
          <p:nvPr/>
        </p:nvGrpSpPr>
        <p:grpSpPr>
          <a:xfrm>
            <a:off x="2964916" y="4797316"/>
            <a:ext cx="3956344" cy="484682"/>
            <a:chOff x="2964782" y="4797285"/>
            <a:chExt cx="3956401" cy="484689"/>
          </a:xfrm>
        </p:grpSpPr>
        <p:sp>
          <p:nvSpPr>
            <p:cNvPr id="273" name="Title 1">
              <a:extLst>
                <a:ext uri="{FF2B5EF4-FFF2-40B4-BE49-F238E27FC236}">
                  <a16:creationId xmlns:a16="http://schemas.microsoft.com/office/drawing/2014/main" id="{0A2B62B9-91BA-56B2-CD0B-E8CDF0F69583}"/>
                </a:ext>
              </a:extLst>
            </p:cNvPr>
            <p:cNvSpPr txBox="1">
              <a:spLocks/>
            </p:cNvSpPr>
            <p:nvPr/>
          </p:nvSpPr>
          <p:spPr>
            <a:xfrm>
              <a:off x="3259633" y="4797285"/>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preparation</a:t>
              </a:r>
            </a:p>
          </p:txBody>
        </p:sp>
        <p:sp>
          <p:nvSpPr>
            <p:cNvPr id="299" name="Oval 298">
              <a:extLst>
                <a:ext uri="{FF2B5EF4-FFF2-40B4-BE49-F238E27FC236}">
                  <a16:creationId xmlns:a16="http://schemas.microsoft.com/office/drawing/2014/main" id="{5023F807-342B-6708-532D-46213504A609}"/>
                </a:ext>
              </a:extLst>
            </p:cNvPr>
            <p:cNvSpPr/>
            <p:nvPr/>
          </p:nvSpPr>
          <p:spPr bwMode="gray">
            <a:xfrm>
              <a:off x="2964782" y="4921190"/>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2</a:t>
              </a:r>
            </a:p>
          </p:txBody>
        </p:sp>
      </p:grpSp>
      <p:sp>
        <p:nvSpPr>
          <p:cNvPr id="163" name="Title 1">
            <a:extLst>
              <a:ext uri="{FF2B5EF4-FFF2-40B4-BE49-F238E27FC236}">
                <a16:creationId xmlns:a16="http://schemas.microsoft.com/office/drawing/2014/main" id="{F6A30064-5564-C14A-B27C-16A3AF73929E}"/>
              </a:ext>
            </a:extLst>
          </p:cNvPr>
          <p:cNvSpPr txBox="1">
            <a:spLocks/>
          </p:cNvSpPr>
          <p:nvPr/>
        </p:nvSpPr>
        <p:spPr>
          <a:xfrm>
            <a:off x="7902260"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31.01</a:t>
            </a:r>
          </a:p>
          <a:p>
            <a:pPr algn="ctr"/>
            <a:r>
              <a:rPr lang="en-US" sz="1800" b="0">
                <a:solidFill>
                  <a:schemeClr val="tx1"/>
                </a:solidFill>
                <a:latin typeface="Montserrat SemiBold" pitchFamily="2" charset="77"/>
              </a:rPr>
              <a:t>1</a:t>
            </a:r>
            <a:r>
              <a:rPr lang="en-US" sz="1800" b="0" baseline="30000">
                <a:solidFill>
                  <a:schemeClr val="tx1"/>
                </a:solidFill>
                <a:latin typeface="Montserrat SemiBold" pitchFamily="2" charset="77"/>
              </a:rPr>
              <a:t>st</a:t>
            </a:r>
            <a:r>
              <a:rPr lang="en-US" sz="1800" b="0">
                <a:solidFill>
                  <a:schemeClr val="tx1"/>
                </a:solidFill>
                <a:latin typeface="Montserrat SemiBold" pitchFamily="2" charset="77"/>
              </a:rPr>
              <a:t> All Hands</a:t>
            </a:r>
          </a:p>
        </p:txBody>
      </p:sp>
      <p:grpSp>
        <p:nvGrpSpPr>
          <p:cNvPr id="13" name="Group 12">
            <a:extLst>
              <a:ext uri="{FF2B5EF4-FFF2-40B4-BE49-F238E27FC236}">
                <a16:creationId xmlns:a16="http://schemas.microsoft.com/office/drawing/2014/main" id="{56E2DF6E-3C19-949B-B85C-F6EC2045EE44}"/>
              </a:ext>
            </a:extLst>
          </p:cNvPr>
          <p:cNvGrpSpPr/>
          <p:nvPr/>
        </p:nvGrpSpPr>
        <p:grpSpPr>
          <a:xfrm>
            <a:off x="2964916" y="5758336"/>
            <a:ext cx="3956344" cy="484682"/>
            <a:chOff x="2964782" y="6541117"/>
            <a:chExt cx="3956401" cy="484689"/>
          </a:xfrm>
        </p:grpSpPr>
        <p:sp>
          <p:nvSpPr>
            <p:cNvPr id="157" name="Title 1">
              <a:extLst>
                <a:ext uri="{FF2B5EF4-FFF2-40B4-BE49-F238E27FC236}">
                  <a16:creationId xmlns:a16="http://schemas.microsoft.com/office/drawing/2014/main" id="{6F440599-CADD-9811-BD8C-42931B00AE57}"/>
                </a:ext>
              </a:extLst>
            </p:cNvPr>
            <p:cNvSpPr txBox="1">
              <a:spLocks/>
            </p:cNvSpPr>
            <p:nvPr/>
          </p:nvSpPr>
          <p:spPr>
            <a:xfrm>
              <a:off x="3259633" y="6541117"/>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definition and implementation</a:t>
              </a:r>
            </a:p>
          </p:txBody>
        </p:sp>
        <p:sp>
          <p:nvSpPr>
            <p:cNvPr id="300" name="Oval 299">
              <a:extLst>
                <a:ext uri="{FF2B5EF4-FFF2-40B4-BE49-F238E27FC236}">
                  <a16:creationId xmlns:a16="http://schemas.microsoft.com/office/drawing/2014/main" id="{C1AD6C74-D2B5-A1B0-7A8B-B8DB2CB6357E}"/>
                </a:ext>
              </a:extLst>
            </p:cNvPr>
            <p:cNvSpPr/>
            <p:nvPr/>
          </p:nvSpPr>
          <p:spPr bwMode="gray">
            <a:xfrm>
              <a:off x="2964782" y="6652062"/>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3</a:t>
              </a:r>
            </a:p>
          </p:txBody>
        </p:sp>
      </p:grpSp>
      <p:grpSp>
        <p:nvGrpSpPr>
          <p:cNvPr id="40" name="Group 39">
            <a:extLst>
              <a:ext uri="{FF2B5EF4-FFF2-40B4-BE49-F238E27FC236}">
                <a16:creationId xmlns:a16="http://schemas.microsoft.com/office/drawing/2014/main" id="{8A0982CF-955B-DC8D-9BC5-CD027BFF2DA1}"/>
              </a:ext>
            </a:extLst>
          </p:cNvPr>
          <p:cNvGrpSpPr/>
          <p:nvPr/>
        </p:nvGrpSpPr>
        <p:grpSpPr>
          <a:xfrm>
            <a:off x="2964916" y="6930803"/>
            <a:ext cx="3956344" cy="484682"/>
            <a:chOff x="2964782" y="7245932"/>
            <a:chExt cx="3956401" cy="484689"/>
          </a:xfrm>
        </p:grpSpPr>
        <p:sp>
          <p:nvSpPr>
            <p:cNvPr id="274" name="Title 1">
              <a:extLst>
                <a:ext uri="{FF2B5EF4-FFF2-40B4-BE49-F238E27FC236}">
                  <a16:creationId xmlns:a16="http://schemas.microsoft.com/office/drawing/2014/main" id="{5DA9B715-A597-EB17-2AF0-17B6476527FC}"/>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tuning and evalaution</a:t>
              </a:r>
            </a:p>
          </p:txBody>
        </p:sp>
        <p:sp>
          <p:nvSpPr>
            <p:cNvPr id="301" name="Oval 300">
              <a:extLst>
                <a:ext uri="{FF2B5EF4-FFF2-40B4-BE49-F238E27FC236}">
                  <a16:creationId xmlns:a16="http://schemas.microsoft.com/office/drawing/2014/main" id="{E1E81131-2554-D8E9-E83D-4F26A1429E3B}"/>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4</a:t>
              </a:r>
            </a:p>
          </p:txBody>
        </p:sp>
      </p:grpSp>
      <p:sp>
        <p:nvSpPr>
          <p:cNvPr id="46" name="Title 1">
            <a:extLst>
              <a:ext uri="{FF2B5EF4-FFF2-40B4-BE49-F238E27FC236}">
                <a16:creationId xmlns:a16="http://schemas.microsoft.com/office/drawing/2014/main" id="{5A6E3193-28F1-3968-A365-7092ADC2F978}"/>
              </a:ext>
            </a:extLst>
          </p:cNvPr>
          <p:cNvSpPr txBox="1">
            <a:spLocks/>
          </p:cNvSpPr>
          <p:nvPr/>
        </p:nvSpPr>
        <p:spPr>
          <a:xfrm>
            <a:off x="714843" y="5182280"/>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EDA &amp; Modelling</a:t>
            </a:r>
            <a:endParaRPr lang="en-US" sz="2400" dirty="0">
              <a:latin typeface="Montserrat SemiBold" pitchFamily="2" charset="77"/>
            </a:endParaRPr>
          </a:p>
        </p:txBody>
      </p:sp>
      <p:sp>
        <p:nvSpPr>
          <p:cNvPr id="3" name="Text Placeholder 2">
            <a:extLst>
              <a:ext uri="{FF2B5EF4-FFF2-40B4-BE49-F238E27FC236}">
                <a16:creationId xmlns:a16="http://schemas.microsoft.com/office/drawing/2014/main" id="{CD480364-13FA-53DD-3108-E4D8CDBE316B}"/>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12" name="Title 1">
            <a:extLst>
              <a:ext uri="{FF2B5EF4-FFF2-40B4-BE49-F238E27FC236}">
                <a16:creationId xmlns:a16="http://schemas.microsoft.com/office/drawing/2014/main" id="{AD943AA6-2907-EECB-576B-CBE8291B10D8}"/>
              </a:ext>
            </a:extLst>
          </p:cNvPr>
          <p:cNvSpPr txBox="1">
            <a:spLocks/>
          </p:cNvSpPr>
          <p:nvPr/>
        </p:nvSpPr>
        <p:spPr>
          <a:xfrm>
            <a:off x="835069" y="9177578"/>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Writing</a:t>
            </a:r>
            <a:endParaRPr lang="en-US" sz="2400" dirty="0">
              <a:latin typeface="Montserrat SemiBold" pitchFamily="2" charset="77"/>
            </a:endParaRPr>
          </a:p>
        </p:txBody>
      </p:sp>
      <p:grpSp>
        <p:nvGrpSpPr>
          <p:cNvPr id="43" name="Group 42">
            <a:extLst>
              <a:ext uri="{FF2B5EF4-FFF2-40B4-BE49-F238E27FC236}">
                <a16:creationId xmlns:a16="http://schemas.microsoft.com/office/drawing/2014/main" id="{0591BA40-26C6-D7B2-75CD-07499DF706F4}"/>
              </a:ext>
            </a:extLst>
          </p:cNvPr>
          <p:cNvGrpSpPr/>
          <p:nvPr/>
        </p:nvGrpSpPr>
        <p:grpSpPr>
          <a:xfrm>
            <a:off x="2964916" y="8588755"/>
            <a:ext cx="3956344" cy="484682"/>
            <a:chOff x="2964782" y="7245932"/>
            <a:chExt cx="3956401" cy="484689"/>
          </a:xfrm>
        </p:grpSpPr>
        <p:sp>
          <p:nvSpPr>
            <p:cNvPr id="45" name="Title 1">
              <a:extLst>
                <a:ext uri="{FF2B5EF4-FFF2-40B4-BE49-F238E27FC236}">
                  <a16:creationId xmlns:a16="http://schemas.microsoft.com/office/drawing/2014/main" id="{60F9A4E4-55F0-04E1-4A07-5A63799C9183}"/>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Literature review</a:t>
              </a:r>
            </a:p>
          </p:txBody>
        </p:sp>
        <p:sp>
          <p:nvSpPr>
            <p:cNvPr id="47" name="Oval 46">
              <a:extLst>
                <a:ext uri="{FF2B5EF4-FFF2-40B4-BE49-F238E27FC236}">
                  <a16:creationId xmlns:a16="http://schemas.microsoft.com/office/drawing/2014/main" id="{B3469643-5940-7FBC-CBF8-3BDA3EC9C590}"/>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5</a:t>
              </a:r>
            </a:p>
          </p:txBody>
        </p:sp>
      </p:grpSp>
      <p:grpSp>
        <p:nvGrpSpPr>
          <p:cNvPr id="52" name="Group 51">
            <a:extLst>
              <a:ext uri="{FF2B5EF4-FFF2-40B4-BE49-F238E27FC236}">
                <a16:creationId xmlns:a16="http://schemas.microsoft.com/office/drawing/2014/main" id="{8DB0C8A7-84F7-8DC0-77E9-99B7153CB917}"/>
              </a:ext>
            </a:extLst>
          </p:cNvPr>
          <p:cNvGrpSpPr/>
          <p:nvPr/>
        </p:nvGrpSpPr>
        <p:grpSpPr>
          <a:xfrm>
            <a:off x="2964916" y="9879227"/>
            <a:ext cx="3956344" cy="484682"/>
            <a:chOff x="2964782" y="10838601"/>
            <a:chExt cx="3956401" cy="484689"/>
          </a:xfrm>
        </p:grpSpPr>
        <p:sp>
          <p:nvSpPr>
            <p:cNvPr id="50" name="Title 1">
              <a:extLst>
                <a:ext uri="{FF2B5EF4-FFF2-40B4-BE49-F238E27FC236}">
                  <a16:creationId xmlns:a16="http://schemas.microsoft.com/office/drawing/2014/main" id="{3AED459F-8865-3ED2-52CC-6BE7B90986A5}"/>
                </a:ext>
              </a:extLst>
            </p:cNvPr>
            <p:cNvSpPr txBox="1">
              <a:spLocks/>
            </p:cNvSpPr>
            <p:nvPr/>
          </p:nvSpPr>
          <p:spPr>
            <a:xfrm>
              <a:off x="3259633" y="10838601"/>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Report writing</a:t>
              </a:r>
            </a:p>
          </p:txBody>
        </p:sp>
        <p:sp>
          <p:nvSpPr>
            <p:cNvPr id="51" name="Oval 50">
              <a:extLst>
                <a:ext uri="{FF2B5EF4-FFF2-40B4-BE49-F238E27FC236}">
                  <a16:creationId xmlns:a16="http://schemas.microsoft.com/office/drawing/2014/main" id="{6779AA8F-573F-E4C6-417B-BD09019330D3}"/>
                </a:ext>
              </a:extLst>
            </p:cNvPr>
            <p:cNvSpPr/>
            <p:nvPr/>
          </p:nvSpPr>
          <p:spPr bwMode="gray">
            <a:xfrm>
              <a:off x="2964782" y="10949546"/>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6</a:t>
              </a:r>
            </a:p>
          </p:txBody>
        </p:sp>
      </p:grpSp>
      <p:sp>
        <p:nvSpPr>
          <p:cNvPr id="54" name="Title 1">
            <a:extLst>
              <a:ext uri="{FF2B5EF4-FFF2-40B4-BE49-F238E27FC236}">
                <a16:creationId xmlns:a16="http://schemas.microsoft.com/office/drawing/2014/main" id="{62AEEF20-8BCE-2536-6DB3-FA7CFED89945}"/>
              </a:ext>
            </a:extLst>
          </p:cNvPr>
          <p:cNvSpPr txBox="1">
            <a:spLocks/>
          </p:cNvSpPr>
          <p:nvPr/>
        </p:nvSpPr>
        <p:spPr>
          <a:xfrm>
            <a:off x="2832237" y="2595440"/>
            <a:ext cx="408902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ctivity</a:t>
            </a:r>
            <a:endParaRPr lang="en-US" sz="2400" dirty="0">
              <a:solidFill>
                <a:schemeClr val="tx2"/>
              </a:solidFill>
              <a:latin typeface="Montserrat SemiBold" pitchFamily="2" charset="77"/>
            </a:endParaRPr>
          </a:p>
        </p:txBody>
      </p:sp>
      <p:cxnSp>
        <p:nvCxnSpPr>
          <p:cNvPr id="55" name="Elbow Connector 37">
            <a:extLst>
              <a:ext uri="{FF2B5EF4-FFF2-40B4-BE49-F238E27FC236}">
                <a16:creationId xmlns:a16="http://schemas.microsoft.com/office/drawing/2014/main" id="{8B3C7108-60E6-BB92-068F-FB97E9D74FBB}"/>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cxnSp>
        <p:nvCxnSpPr>
          <p:cNvPr id="62" name="Elbow Connector 37">
            <a:extLst>
              <a:ext uri="{FF2B5EF4-FFF2-40B4-BE49-F238E27FC236}">
                <a16:creationId xmlns:a16="http://schemas.microsoft.com/office/drawing/2014/main" id="{B55AEB73-EC97-D42A-5639-85C4D70CE4A8}"/>
              </a:ext>
            </a:extLst>
          </p:cNvPr>
          <p:cNvCxnSpPr>
            <a:cxnSpLocks/>
          </p:cNvCxnSpPr>
          <p:nvPr/>
        </p:nvCxnSpPr>
        <p:spPr>
          <a:xfrm>
            <a:off x="795715" y="818442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3" name="Title 1">
            <a:extLst>
              <a:ext uri="{FF2B5EF4-FFF2-40B4-BE49-F238E27FC236}">
                <a16:creationId xmlns:a16="http://schemas.microsoft.com/office/drawing/2014/main" id="{4B064159-EEC6-3420-EDAA-44F162999F6B}"/>
              </a:ext>
            </a:extLst>
          </p:cNvPr>
          <p:cNvSpPr txBox="1">
            <a:spLocks/>
          </p:cNvSpPr>
          <p:nvPr/>
        </p:nvSpPr>
        <p:spPr>
          <a:xfrm>
            <a:off x="6921260"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an</a:t>
            </a:r>
            <a:endParaRPr lang="en-US" sz="2400" dirty="0">
              <a:solidFill>
                <a:schemeClr val="tx2"/>
              </a:solidFill>
              <a:latin typeface="Montserrat SemiBold" pitchFamily="2" charset="77"/>
            </a:endParaRPr>
          </a:p>
        </p:txBody>
      </p:sp>
      <p:sp>
        <p:nvSpPr>
          <p:cNvPr id="64" name="Title 1">
            <a:extLst>
              <a:ext uri="{FF2B5EF4-FFF2-40B4-BE49-F238E27FC236}">
                <a16:creationId xmlns:a16="http://schemas.microsoft.com/office/drawing/2014/main" id="{85691534-C716-85AB-D60F-FEA44ADF10B3}"/>
              </a:ext>
            </a:extLst>
          </p:cNvPr>
          <p:cNvSpPr txBox="1">
            <a:spLocks/>
          </p:cNvSpPr>
          <p:nvPr/>
        </p:nvSpPr>
        <p:spPr>
          <a:xfrm>
            <a:off x="8986881"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Feb</a:t>
            </a:r>
            <a:endParaRPr lang="en-US" sz="2400" dirty="0">
              <a:solidFill>
                <a:schemeClr val="tx2"/>
              </a:solidFill>
              <a:latin typeface="Montserrat SemiBold" pitchFamily="2" charset="77"/>
            </a:endParaRPr>
          </a:p>
        </p:txBody>
      </p:sp>
      <p:sp>
        <p:nvSpPr>
          <p:cNvPr id="66" name="Title 1">
            <a:extLst>
              <a:ext uri="{FF2B5EF4-FFF2-40B4-BE49-F238E27FC236}">
                <a16:creationId xmlns:a16="http://schemas.microsoft.com/office/drawing/2014/main" id="{414A89FC-971E-A0CE-63BF-563B8269C786}"/>
              </a:ext>
            </a:extLst>
          </p:cNvPr>
          <p:cNvSpPr txBox="1">
            <a:spLocks/>
          </p:cNvSpPr>
          <p:nvPr/>
        </p:nvSpPr>
        <p:spPr>
          <a:xfrm>
            <a:off x="11023404"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r</a:t>
            </a:r>
            <a:endParaRPr lang="en-US" sz="2400" dirty="0">
              <a:solidFill>
                <a:schemeClr val="tx2"/>
              </a:solidFill>
              <a:latin typeface="Montserrat SemiBold" pitchFamily="2" charset="77"/>
            </a:endParaRPr>
          </a:p>
        </p:txBody>
      </p:sp>
      <p:sp>
        <p:nvSpPr>
          <p:cNvPr id="67" name="Title 1">
            <a:extLst>
              <a:ext uri="{FF2B5EF4-FFF2-40B4-BE49-F238E27FC236}">
                <a16:creationId xmlns:a16="http://schemas.microsoft.com/office/drawing/2014/main" id="{3785D4A3-B4A1-C9D6-0FC0-F6BD2CE38C26}"/>
              </a:ext>
            </a:extLst>
          </p:cNvPr>
          <p:cNvSpPr txBox="1">
            <a:spLocks/>
          </p:cNvSpPr>
          <p:nvPr/>
        </p:nvSpPr>
        <p:spPr>
          <a:xfrm>
            <a:off x="131093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pr</a:t>
            </a:r>
            <a:endParaRPr lang="en-US" sz="2400" dirty="0">
              <a:solidFill>
                <a:schemeClr val="tx2"/>
              </a:solidFill>
              <a:latin typeface="Montserrat SemiBold" pitchFamily="2" charset="77"/>
            </a:endParaRPr>
          </a:p>
        </p:txBody>
      </p:sp>
      <p:sp>
        <p:nvSpPr>
          <p:cNvPr id="69" name="Title 1">
            <a:extLst>
              <a:ext uri="{FF2B5EF4-FFF2-40B4-BE49-F238E27FC236}">
                <a16:creationId xmlns:a16="http://schemas.microsoft.com/office/drawing/2014/main" id="{58380279-0895-D835-6BEC-C6F5E0AA3971}"/>
              </a:ext>
            </a:extLst>
          </p:cNvPr>
          <p:cNvSpPr txBox="1">
            <a:spLocks/>
          </p:cNvSpPr>
          <p:nvPr/>
        </p:nvSpPr>
        <p:spPr>
          <a:xfrm>
            <a:off x="1519755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y</a:t>
            </a:r>
            <a:endParaRPr lang="en-US" sz="2400" dirty="0">
              <a:solidFill>
                <a:schemeClr val="tx2"/>
              </a:solidFill>
              <a:latin typeface="Montserrat SemiBold" pitchFamily="2" charset="77"/>
            </a:endParaRPr>
          </a:p>
        </p:txBody>
      </p:sp>
      <p:sp>
        <p:nvSpPr>
          <p:cNvPr id="70" name="Title 1">
            <a:extLst>
              <a:ext uri="{FF2B5EF4-FFF2-40B4-BE49-F238E27FC236}">
                <a16:creationId xmlns:a16="http://schemas.microsoft.com/office/drawing/2014/main" id="{F37DEDBD-9CC6-504D-881E-D673C8EC29E3}"/>
              </a:ext>
            </a:extLst>
          </p:cNvPr>
          <p:cNvSpPr txBox="1">
            <a:spLocks/>
          </p:cNvSpPr>
          <p:nvPr/>
        </p:nvSpPr>
        <p:spPr>
          <a:xfrm>
            <a:off x="1724642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n</a:t>
            </a:r>
            <a:endParaRPr lang="en-US" sz="2400" dirty="0">
              <a:solidFill>
                <a:schemeClr val="tx2"/>
              </a:solidFill>
              <a:latin typeface="Montserrat SemiBold" pitchFamily="2" charset="77"/>
            </a:endParaRPr>
          </a:p>
        </p:txBody>
      </p:sp>
      <p:sp>
        <p:nvSpPr>
          <p:cNvPr id="71" name="Title 1">
            <a:extLst>
              <a:ext uri="{FF2B5EF4-FFF2-40B4-BE49-F238E27FC236}">
                <a16:creationId xmlns:a16="http://schemas.microsoft.com/office/drawing/2014/main" id="{877B7F5E-FA46-7B87-905E-166FE76F0479}"/>
              </a:ext>
            </a:extLst>
          </p:cNvPr>
          <p:cNvSpPr txBox="1">
            <a:spLocks/>
          </p:cNvSpPr>
          <p:nvPr/>
        </p:nvSpPr>
        <p:spPr>
          <a:xfrm>
            <a:off x="19373957"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l</a:t>
            </a:r>
            <a:endParaRPr lang="en-US" sz="2400" dirty="0">
              <a:solidFill>
                <a:schemeClr val="tx2"/>
              </a:solidFill>
              <a:latin typeface="Montserrat SemiBold" pitchFamily="2" charset="77"/>
            </a:endParaRPr>
          </a:p>
        </p:txBody>
      </p:sp>
      <p:sp>
        <p:nvSpPr>
          <p:cNvPr id="73" name="Title 1">
            <a:extLst>
              <a:ext uri="{FF2B5EF4-FFF2-40B4-BE49-F238E27FC236}">
                <a16:creationId xmlns:a16="http://schemas.microsoft.com/office/drawing/2014/main" id="{C2024AA8-9048-857E-EB1A-D91E09EE7732}"/>
              </a:ext>
            </a:extLst>
          </p:cNvPr>
          <p:cNvSpPr txBox="1">
            <a:spLocks/>
          </p:cNvSpPr>
          <p:nvPr/>
        </p:nvSpPr>
        <p:spPr>
          <a:xfrm>
            <a:off x="213901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ug</a:t>
            </a:r>
            <a:endParaRPr lang="en-US" sz="2400" dirty="0">
              <a:solidFill>
                <a:schemeClr val="tx2"/>
              </a:solidFill>
              <a:latin typeface="Montserrat SemiBold" pitchFamily="2" charset="77"/>
            </a:endParaRPr>
          </a:p>
        </p:txBody>
      </p:sp>
      <p:sp>
        <p:nvSpPr>
          <p:cNvPr id="75" name="Freeform: Shape 19">
            <a:extLst>
              <a:ext uri="{FF2B5EF4-FFF2-40B4-BE49-F238E27FC236}">
                <a16:creationId xmlns:a16="http://schemas.microsoft.com/office/drawing/2014/main" id="{04F11D0E-A1C9-7B79-B48F-5504CD38FD27}"/>
              </a:ext>
            </a:extLst>
          </p:cNvPr>
          <p:cNvSpPr>
            <a:spLocks noChangeArrowheads="1"/>
          </p:cNvSpPr>
          <p:nvPr/>
        </p:nvSpPr>
        <p:spPr bwMode="auto">
          <a:xfrm>
            <a:off x="11023405" y="4626579"/>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Clean and merge data, create necessary features</a:t>
            </a:r>
          </a:p>
        </p:txBody>
      </p:sp>
      <p:sp>
        <p:nvSpPr>
          <p:cNvPr id="76" name="Freeform: Shape 19">
            <a:extLst>
              <a:ext uri="{FF2B5EF4-FFF2-40B4-BE49-F238E27FC236}">
                <a16:creationId xmlns:a16="http://schemas.microsoft.com/office/drawing/2014/main" id="{F07F2620-17E3-C974-10AE-D9EB5834BD15}"/>
              </a:ext>
            </a:extLst>
          </p:cNvPr>
          <p:cNvSpPr>
            <a:spLocks noChangeArrowheads="1"/>
          </p:cNvSpPr>
          <p:nvPr/>
        </p:nvSpPr>
        <p:spPr bwMode="auto">
          <a:xfrm>
            <a:off x="11039205" y="5733385"/>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Build models and iteratively improve</a:t>
            </a:r>
            <a:endParaRPr lang="en-US" sz="2000" dirty="0">
              <a:solidFill>
                <a:schemeClr val="bg1"/>
              </a:solidFill>
              <a:latin typeface="Montserrat" pitchFamily="2" charset="77"/>
            </a:endParaRPr>
          </a:p>
        </p:txBody>
      </p:sp>
      <p:sp>
        <p:nvSpPr>
          <p:cNvPr id="79" name="Freeform: Shape 19">
            <a:extLst>
              <a:ext uri="{FF2B5EF4-FFF2-40B4-BE49-F238E27FC236}">
                <a16:creationId xmlns:a16="http://schemas.microsoft.com/office/drawing/2014/main" id="{6ED920CB-4C00-73C3-B736-C28B22CD4B69}"/>
              </a:ext>
            </a:extLst>
          </p:cNvPr>
          <p:cNvSpPr>
            <a:spLocks noChangeArrowheads="1"/>
          </p:cNvSpPr>
          <p:nvPr/>
        </p:nvSpPr>
        <p:spPr bwMode="auto">
          <a:xfrm>
            <a:off x="14893365" y="6876965"/>
            <a:ext cx="218464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etune </a:t>
            </a:r>
          </a:p>
          <a:p>
            <a:pPr algn="ctr"/>
            <a:r>
              <a:rPr lang="en-US" sz="2000" dirty="0">
                <a:solidFill>
                  <a:schemeClr val="bg1"/>
                </a:solidFill>
                <a:latin typeface="Montserrat" pitchFamily="2" charset="77"/>
              </a:rPr>
              <a:t>final model</a:t>
            </a:r>
          </a:p>
        </p:txBody>
      </p:sp>
      <p:sp>
        <p:nvSpPr>
          <p:cNvPr id="77" name="Freeform: Shape 19">
            <a:extLst>
              <a:ext uri="{FF2B5EF4-FFF2-40B4-BE49-F238E27FC236}">
                <a16:creationId xmlns:a16="http://schemas.microsoft.com/office/drawing/2014/main" id="{F1F8CC3A-83D7-9458-440A-58E162DF6706}"/>
              </a:ext>
            </a:extLst>
          </p:cNvPr>
          <p:cNvSpPr>
            <a:spLocks noChangeArrowheads="1"/>
          </p:cNvSpPr>
          <p:nvPr/>
        </p:nvSpPr>
        <p:spPr bwMode="auto">
          <a:xfrm>
            <a:off x="11020542" y="6865654"/>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Continously evaluate and improve models</a:t>
            </a:r>
            <a:endParaRPr lang="en-US" sz="2000" dirty="0">
              <a:solidFill>
                <a:schemeClr val="bg1"/>
              </a:solidFill>
              <a:latin typeface="Montserrat" pitchFamily="2" charset="77"/>
            </a:endParaRPr>
          </a:p>
        </p:txBody>
      </p:sp>
      <p:sp>
        <p:nvSpPr>
          <p:cNvPr id="80" name="Freeform: Shape 19">
            <a:extLst>
              <a:ext uri="{FF2B5EF4-FFF2-40B4-BE49-F238E27FC236}">
                <a16:creationId xmlns:a16="http://schemas.microsoft.com/office/drawing/2014/main" id="{C089DA74-E5D2-AEF6-23B3-B8B330A13318}"/>
              </a:ext>
            </a:extLst>
          </p:cNvPr>
          <p:cNvSpPr>
            <a:spLocks noChangeArrowheads="1"/>
          </p:cNvSpPr>
          <p:nvPr/>
        </p:nvSpPr>
        <p:spPr bwMode="auto">
          <a:xfrm>
            <a:off x="6921260" y="8486936"/>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Develop understanding of subject matter and existing research approaches/results</a:t>
            </a:r>
          </a:p>
        </p:txBody>
      </p:sp>
      <p:sp>
        <p:nvSpPr>
          <p:cNvPr id="83" name="Freeform: Shape 19">
            <a:extLst>
              <a:ext uri="{FF2B5EF4-FFF2-40B4-BE49-F238E27FC236}">
                <a16:creationId xmlns:a16="http://schemas.microsoft.com/office/drawing/2014/main" id="{C8387A90-FA24-1345-F687-4AB77BFB0A01}"/>
              </a:ext>
            </a:extLst>
          </p:cNvPr>
          <p:cNvSpPr>
            <a:spLocks noChangeArrowheads="1"/>
          </p:cNvSpPr>
          <p:nvPr/>
        </p:nvSpPr>
        <p:spPr bwMode="auto">
          <a:xfrm>
            <a:off x="19457300" y="9667066"/>
            <a:ext cx="338432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723900" dist="215900" dir="16200000" sx="103000" sy="103000" algn="tl" rotWithShape="0">
              <a:srgbClr val="2463EC">
                <a:alpha val="9000"/>
              </a:srgb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alize report, incorporating feedback</a:t>
            </a:r>
            <a:endParaRPr lang="en-US" sz="2000" dirty="0">
              <a:solidFill>
                <a:schemeClr val="bg1"/>
              </a:solidFill>
              <a:latin typeface="Montserrat" pitchFamily="2" charset="77"/>
            </a:endParaRPr>
          </a:p>
        </p:txBody>
      </p:sp>
      <p:sp>
        <p:nvSpPr>
          <p:cNvPr id="81" name="Freeform: Shape 19">
            <a:extLst>
              <a:ext uri="{FF2B5EF4-FFF2-40B4-BE49-F238E27FC236}">
                <a16:creationId xmlns:a16="http://schemas.microsoft.com/office/drawing/2014/main" id="{7F6364FD-9535-D460-2522-3950596038AE}"/>
              </a:ext>
            </a:extLst>
          </p:cNvPr>
          <p:cNvSpPr>
            <a:spLocks noChangeArrowheads="1"/>
          </p:cNvSpPr>
          <p:nvPr/>
        </p:nvSpPr>
        <p:spPr bwMode="auto">
          <a:xfrm>
            <a:off x="16144976" y="9667066"/>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Write report</a:t>
            </a:r>
            <a:endParaRPr lang="en-US" sz="2000" dirty="0">
              <a:solidFill>
                <a:schemeClr val="bg1"/>
              </a:solidFill>
              <a:latin typeface="Montserrat" pitchFamily="2" charset="77"/>
            </a:endParaRPr>
          </a:p>
        </p:txBody>
      </p:sp>
      <p:sp>
        <p:nvSpPr>
          <p:cNvPr id="82" name="Freeform: Shape 19">
            <a:extLst>
              <a:ext uri="{FF2B5EF4-FFF2-40B4-BE49-F238E27FC236}">
                <a16:creationId xmlns:a16="http://schemas.microsoft.com/office/drawing/2014/main" id="{DD22AC9E-A0BE-B2AB-1BB4-B4553C3111DB}"/>
              </a:ext>
            </a:extLst>
          </p:cNvPr>
          <p:cNvSpPr>
            <a:spLocks noChangeArrowheads="1"/>
          </p:cNvSpPr>
          <p:nvPr/>
        </p:nvSpPr>
        <p:spPr bwMode="auto">
          <a:xfrm>
            <a:off x="12265596" y="9667066"/>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Draft outline and content of report</a:t>
            </a:r>
            <a:endParaRPr lang="en-US" sz="2000" dirty="0">
              <a:solidFill>
                <a:schemeClr val="bg1"/>
              </a:solidFill>
              <a:latin typeface="Montserrat" pitchFamily="2" charset="77"/>
            </a:endParaRPr>
          </a:p>
        </p:txBody>
      </p:sp>
      <p:sp>
        <p:nvSpPr>
          <p:cNvPr id="84" name="Title 1">
            <a:extLst>
              <a:ext uri="{FF2B5EF4-FFF2-40B4-BE49-F238E27FC236}">
                <a16:creationId xmlns:a16="http://schemas.microsoft.com/office/drawing/2014/main" id="{4BFD4EED-B076-391C-7EFF-EE82793598E0}"/>
              </a:ext>
            </a:extLst>
          </p:cNvPr>
          <p:cNvSpPr txBox="1">
            <a:spLocks/>
          </p:cNvSpPr>
          <p:nvPr/>
        </p:nvSpPr>
        <p:spPr>
          <a:xfrm>
            <a:off x="690065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a:t>
            </a:r>
            <a:endParaRPr lang="en-US" sz="1600" dirty="0">
              <a:solidFill>
                <a:schemeClr val="tx2"/>
              </a:solidFill>
              <a:latin typeface="Montserrat SemiBold" pitchFamily="2" charset="77"/>
            </a:endParaRPr>
          </a:p>
        </p:txBody>
      </p:sp>
      <p:sp>
        <p:nvSpPr>
          <p:cNvPr id="85" name="Title 1">
            <a:extLst>
              <a:ext uri="{FF2B5EF4-FFF2-40B4-BE49-F238E27FC236}">
                <a16:creationId xmlns:a16="http://schemas.microsoft.com/office/drawing/2014/main" id="{59C9F974-70BD-7BB1-20AA-9EF2C6783B91}"/>
              </a:ext>
            </a:extLst>
          </p:cNvPr>
          <p:cNvSpPr txBox="1">
            <a:spLocks/>
          </p:cNvSpPr>
          <p:nvPr/>
        </p:nvSpPr>
        <p:spPr>
          <a:xfrm>
            <a:off x="742139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a:t>
            </a:r>
          </a:p>
        </p:txBody>
      </p:sp>
      <p:sp>
        <p:nvSpPr>
          <p:cNvPr id="86" name="Title 1">
            <a:extLst>
              <a:ext uri="{FF2B5EF4-FFF2-40B4-BE49-F238E27FC236}">
                <a16:creationId xmlns:a16="http://schemas.microsoft.com/office/drawing/2014/main" id="{EF89BEC5-ED36-11F4-A28C-E833B08CE738}"/>
              </a:ext>
            </a:extLst>
          </p:cNvPr>
          <p:cNvSpPr txBox="1">
            <a:spLocks/>
          </p:cNvSpPr>
          <p:nvPr/>
        </p:nvSpPr>
        <p:spPr>
          <a:xfrm>
            <a:off x="794213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a:t>
            </a:r>
          </a:p>
        </p:txBody>
      </p:sp>
      <p:sp>
        <p:nvSpPr>
          <p:cNvPr id="87" name="Title 1">
            <a:extLst>
              <a:ext uri="{FF2B5EF4-FFF2-40B4-BE49-F238E27FC236}">
                <a16:creationId xmlns:a16="http://schemas.microsoft.com/office/drawing/2014/main" id="{B06348D0-E16B-CD5C-25A0-D841B8DFAE81}"/>
              </a:ext>
            </a:extLst>
          </p:cNvPr>
          <p:cNvSpPr txBox="1">
            <a:spLocks/>
          </p:cNvSpPr>
          <p:nvPr/>
        </p:nvSpPr>
        <p:spPr>
          <a:xfrm>
            <a:off x="846287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4</a:t>
            </a:r>
          </a:p>
        </p:txBody>
      </p:sp>
      <p:sp>
        <p:nvSpPr>
          <p:cNvPr id="88" name="Title 1">
            <a:extLst>
              <a:ext uri="{FF2B5EF4-FFF2-40B4-BE49-F238E27FC236}">
                <a16:creationId xmlns:a16="http://schemas.microsoft.com/office/drawing/2014/main" id="{9E6293C1-A5D4-1D90-E438-EA576514A4F1}"/>
              </a:ext>
            </a:extLst>
          </p:cNvPr>
          <p:cNvSpPr txBox="1">
            <a:spLocks/>
          </p:cNvSpPr>
          <p:nvPr/>
        </p:nvSpPr>
        <p:spPr>
          <a:xfrm>
            <a:off x="898361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5</a:t>
            </a:r>
          </a:p>
        </p:txBody>
      </p:sp>
      <p:sp>
        <p:nvSpPr>
          <p:cNvPr id="89" name="Title 1">
            <a:extLst>
              <a:ext uri="{FF2B5EF4-FFF2-40B4-BE49-F238E27FC236}">
                <a16:creationId xmlns:a16="http://schemas.microsoft.com/office/drawing/2014/main" id="{3FB45E95-DF5F-B738-DB25-A19561725943}"/>
              </a:ext>
            </a:extLst>
          </p:cNvPr>
          <p:cNvSpPr txBox="1">
            <a:spLocks/>
          </p:cNvSpPr>
          <p:nvPr/>
        </p:nvSpPr>
        <p:spPr>
          <a:xfrm>
            <a:off x="950435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6</a:t>
            </a:r>
          </a:p>
        </p:txBody>
      </p:sp>
      <p:sp>
        <p:nvSpPr>
          <p:cNvPr id="90" name="Title 1">
            <a:extLst>
              <a:ext uri="{FF2B5EF4-FFF2-40B4-BE49-F238E27FC236}">
                <a16:creationId xmlns:a16="http://schemas.microsoft.com/office/drawing/2014/main" id="{4A8B60C2-BA92-1778-A844-7D494227A613}"/>
              </a:ext>
            </a:extLst>
          </p:cNvPr>
          <p:cNvSpPr txBox="1">
            <a:spLocks/>
          </p:cNvSpPr>
          <p:nvPr/>
        </p:nvSpPr>
        <p:spPr>
          <a:xfrm>
            <a:off x="1002509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7</a:t>
            </a:r>
          </a:p>
        </p:txBody>
      </p:sp>
      <p:sp>
        <p:nvSpPr>
          <p:cNvPr id="91" name="Title 1">
            <a:extLst>
              <a:ext uri="{FF2B5EF4-FFF2-40B4-BE49-F238E27FC236}">
                <a16:creationId xmlns:a16="http://schemas.microsoft.com/office/drawing/2014/main" id="{B60CA3A5-2ABB-51C2-8FD3-C85F278A54A1}"/>
              </a:ext>
            </a:extLst>
          </p:cNvPr>
          <p:cNvSpPr txBox="1">
            <a:spLocks/>
          </p:cNvSpPr>
          <p:nvPr/>
        </p:nvSpPr>
        <p:spPr>
          <a:xfrm>
            <a:off x="1054583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8</a:t>
            </a:r>
          </a:p>
        </p:txBody>
      </p:sp>
      <p:sp>
        <p:nvSpPr>
          <p:cNvPr id="92" name="Title 1">
            <a:extLst>
              <a:ext uri="{FF2B5EF4-FFF2-40B4-BE49-F238E27FC236}">
                <a16:creationId xmlns:a16="http://schemas.microsoft.com/office/drawing/2014/main" id="{7C35BB75-9094-683F-52D1-24CAB64E4E6B}"/>
              </a:ext>
            </a:extLst>
          </p:cNvPr>
          <p:cNvSpPr txBox="1">
            <a:spLocks/>
          </p:cNvSpPr>
          <p:nvPr/>
        </p:nvSpPr>
        <p:spPr>
          <a:xfrm>
            <a:off x="1106657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9</a:t>
            </a:r>
          </a:p>
        </p:txBody>
      </p:sp>
      <p:sp>
        <p:nvSpPr>
          <p:cNvPr id="93" name="Title 1">
            <a:extLst>
              <a:ext uri="{FF2B5EF4-FFF2-40B4-BE49-F238E27FC236}">
                <a16:creationId xmlns:a16="http://schemas.microsoft.com/office/drawing/2014/main" id="{E8E00BDE-33A9-C5F9-FDB3-526E97DD3B7B}"/>
              </a:ext>
            </a:extLst>
          </p:cNvPr>
          <p:cNvSpPr txBox="1">
            <a:spLocks/>
          </p:cNvSpPr>
          <p:nvPr/>
        </p:nvSpPr>
        <p:spPr>
          <a:xfrm>
            <a:off x="1158731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0</a:t>
            </a:r>
          </a:p>
        </p:txBody>
      </p:sp>
      <p:sp>
        <p:nvSpPr>
          <p:cNvPr id="94" name="Title 1">
            <a:extLst>
              <a:ext uri="{FF2B5EF4-FFF2-40B4-BE49-F238E27FC236}">
                <a16:creationId xmlns:a16="http://schemas.microsoft.com/office/drawing/2014/main" id="{950A80B9-58AE-89C3-8FB5-373244C59F00}"/>
              </a:ext>
            </a:extLst>
          </p:cNvPr>
          <p:cNvSpPr txBox="1">
            <a:spLocks/>
          </p:cNvSpPr>
          <p:nvPr/>
        </p:nvSpPr>
        <p:spPr>
          <a:xfrm>
            <a:off x="1210805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1</a:t>
            </a:r>
          </a:p>
        </p:txBody>
      </p:sp>
      <p:sp>
        <p:nvSpPr>
          <p:cNvPr id="95" name="Title 1">
            <a:extLst>
              <a:ext uri="{FF2B5EF4-FFF2-40B4-BE49-F238E27FC236}">
                <a16:creationId xmlns:a16="http://schemas.microsoft.com/office/drawing/2014/main" id="{3150BE7D-B264-BC15-9FB6-D1EE439B2581}"/>
              </a:ext>
            </a:extLst>
          </p:cNvPr>
          <p:cNvSpPr txBox="1">
            <a:spLocks/>
          </p:cNvSpPr>
          <p:nvPr/>
        </p:nvSpPr>
        <p:spPr>
          <a:xfrm>
            <a:off x="12628795"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2</a:t>
            </a:r>
          </a:p>
        </p:txBody>
      </p:sp>
      <p:sp>
        <p:nvSpPr>
          <p:cNvPr id="96" name="Title 1">
            <a:extLst>
              <a:ext uri="{FF2B5EF4-FFF2-40B4-BE49-F238E27FC236}">
                <a16:creationId xmlns:a16="http://schemas.microsoft.com/office/drawing/2014/main" id="{C87CB729-D5D9-8F34-1F01-0A49DC01290B}"/>
              </a:ext>
            </a:extLst>
          </p:cNvPr>
          <p:cNvSpPr txBox="1">
            <a:spLocks/>
          </p:cNvSpPr>
          <p:nvPr/>
        </p:nvSpPr>
        <p:spPr>
          <a:xfrm>
            <a:off x="1314953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3</a:t>
            </a:r>
            <a:endParaRPr lang="en-US" sz="1600" dirty="0">
              <a:solidFill>
                <a:schemeClr val="tx2"/>
              </a:solidFill>
              <a:latin typeface="Montserrat SemiBold" pitchFamily="2" charset="77"/>
            </a:endParaRPr>
          </a:p>
        </p:txBody>
      </p:sp>
      <p:sp>
        <p:nvSpPr>
          <p:cNvPr id="97" name="Title 1">
            <a:extLst>
              <a:ext uri="{FF2B5EF4-FFF2-40B4-BE49-F238E27FC236}">
                <a16:creationId xmlns:a16="http://schemas.microsoft.com/office/drawing/2014/main" id="{D1B2FB3D-4714-E4B0-0825-A104E4B04E46}"/>
              </a:ext>
            </a:extLst>
          </p:cNvPr>
          <p:cNvSpPr txBox="1">
            <a:spLocks/>
          </p:cNvSpPr>
          <p:nvPr/>
        </p:nvSpPr>
        <p:spPr>
          <a:xfrm>
            <a:off x="1367027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4</a:t>
            </a:r>
          </a:p>
        </p:txBody>
      </p:sp>
      <p:sp>
        <p:nvSpPr>
          <p:cNvPr id="98" name="Title 1">
            <a:extLst>
              <a:ext uri="{FF2B5EF4-FFF2-40B4-BE49-F238E27FC236}">
                <a16:creationId xmlns:a16="http://schemas.microsoft.com/office/drawing/2014/main" id="{49AD04CB-5F57-739E-0D84-BC0CDDFAC3FA}"/>
              </a:ext>
            </a:extLst>
          </p:cNvPr>
          <p:cNvSpPr txBox="1">
            <a:spLocks/>
          </p:cNvSpPr>
          <p:nvPr/>
        </p:nvSpPr>
        <p:spPr>
          <a:xfrm>
            <a:off x="1419101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5</a:t>
            </a:r>
          </a:p>
        </p:txBody>
      </p:sp>
      <p:sp>
        <p:nvSpPr>
          <p:cNvPr id="99" name="Title 1">
            <a:extLst>
              <a:ext uri="{FF2B5EF4-FFF2-40B4-BE49-F238E27FC236}">
                <a16:creationId xmlns:a16="http://schemas.microsoft.com/office/drawing/2014/main" id="{F47FA0FD-E16C-B370-0101-4C03E37E3DA1}"/>
              </a:ext>
            </a:extLst>
          </p:cNvPr>
          <p:cNvSpPr txBox="1">
            <a:spLocks/>
          </p:cNvSpPr>
          <p:nvPr/>
        </p:nvSpPr>
        <p:spPr>
          <a:xfrm>
            <a:off x="1471175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6</a:t>
            </a:r>
          </a:p>
        </p:txBody>
      </p:sp>
      <p:sp>
        <p:nvSpPr>
          <p:cNvPr id="100" name="Title 1">
            <a:extLst>
              <a:ext uri="{FF2B5EF4-FFF2-40B4-BE49-F238E27FC236}">
                <a16:creationId xmlns:a16="http://schemas.microsoft.com/office/drawing/2014/main" id="{11FF33F6-7BCB-6887-2DED-5849A076FB7D}"/>
              </a:ext>
            </a:extLst>
          </p:cNvPr>
          <p:cNvSpPr txBox="1">
            <a:spLocks/>
          </p:cNvSpPr>
          <p:nvPr/>
        </p:nvSpPr>
        <p:spPr>
          <a:xfrm>
            <a:off x="1523249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7</a:t>
            </a:r>
            <a:endParaRPr lang="en-US" sz="1600" dirty="0">
              <a:solidFill>
                <a:schemeClr val="tx2"/>
              </a:solidFill>
              <a:latin typeface="Montserrat SemiBold" pitchFamily="2" charset="77"/>
            </a:endParaRPr>
          </a:p>
        </p:txBody>
      </p:sp>
      <p:sp>
        <p:nvSpPr>
          <p:cNvPr id="101" name="Title 1">
            <a:extLst>
              <a:ext uri="{FF2B5EF4-FFF2-40B4-BE49-F238E27FC236}">
                <a16:creationId xmlns:a16="http://schemas.microsoft.com/office/drawing/2014/main" id="{71040ACC-80BC-1C0C-AC15-B90333E7FD04}"/>
              </a:ext>
            </a:extLst>
          </p:cNvPr>
          <p:cNvSpPr txBox="1">
            <a:spLocks/>
          </p:cNvSpPr>
          <p:nvPr/>
        </p:nvSpPr>
        <p:spPr>
          <a:xfrm>
            <a:off x="1575323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8</a:t>
            </a:r>
          </a:p>
        </p:txBody>
      </p:sp>
      <p:sp>
        <p:nvSpPr>
          <p:cNvPr id="102" name="Title 1">
            <a:extLst>
              <a:ext uri="{FF2B5EF4-FFF2-40B4-BE49-F238E27FC236}">
                <a16:creationId xmlns:a16="http://schemas.microsoft.com/office/drawing/2014/main" id="{1298927F-3C81-F346-214C-B5208706A158}"/>
              </a:ext>
            </a:extLst>
          </p:cNvPr>
          <p:cNvSpPr txBox="1">
            <a:spLocks/>
          </p:cNvSpPr>
          <p:nvPr/>
        </p:nvSpPr>
        <p:spPr>
          <a:xfrm>
            <a:off x="1627397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9</a:t>
            </a:r>
          </a:p>
        </p:txBody>
      </p:sp>
      <p:sp>
        <p:nvSpPr>
          <p:cNvPr id="103" name="Title 1">
            <a:extLst>
              <a:ext uri="{FF2B5EF4-FFF2-40B4-BE49-F238E27FC236}">
                <a16:creationId xmlns:a16="http://schemas.microsoft.com/office/drawing/2014/main" id="{364DE388-8D5D-CFED-04FD-9638D048C6B1}"/>
              </a:ext>
            </a:extLst>
          </p:cNvPr>
          <p:cNvSpPr txBox="1">
            <a:spLocks/>
          </p:cNvSpPr>
          <p:nvPr/>
        </p:nvSpPr>
        <p:spPr>
          <a:xfrm>
            <a:off x="1679471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0</a:t>
            </a:r>
          </a:p>
        </p:txBody>
      </p:sp>
      <p:sp>
        <p:nvSpPr>
          <p:cNvPr id="104" name="Title 1">
            <a:extLst>
              <a:ext uri="{FF2B5EF4-FFF2-40B4-BE49-F238E27FC236}">
                <a16:creationId xmlns:a16="http://schemas.microsoft.com/office/drawing/2014/main" id="{7698902D-7332-6401-D58F-421F84A30C97}"/>
              </a:ext>
            </a:extLst>
          </p:cNvPr>
          <p:cNvSpPr txBox="1">
            <a:spLocks/>
          </p:cNvSpPr>
          <p:nvPr/>
        </p:nvSpPr>
        <p:spPr>
          <a:xfrm>
            <a:off x="1731545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1</a:t>
            </a:r>
          </a:p>
        </p:txBody>
      </p:sp>
      <p:sp>
        <p:nvSpPr>
          <p:cNvPr id="106" name="Title 1">
            <a:extLst>
              <a:ext uri="{FF2B5EF4-FFF2-40B4-BE49-F238E27FC236}">
                <a16:creationId xmlns:a16="http://schemas.microsoft.com/office/drawing/2014/main" id="{6DD74C21-BF44-DBE5-DE96-87B4A5A97BD9}"/>
              </a:ext>
            </a:extLst>
          </p:cNvPr>
          <p:cNvSpPr txBox="1">
            <a:spLocks/>
          </p:cNvSpPr>
          <p:nvPr/>
        </p:nvSpPr>
        <p:spPr>
          <a:xfrm>
            <a:off x="1783619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2</a:t>
            </a:r>
          </a:p>
        </p:txBody>
      </p:sp>
      <p:sp>
        <p:nvSpPr>
          <p:cNvPr id="107" name="Title 1">
            <a:extLst>
              <a:ext uri="{FF2B5EF4-FFF2-40B4-BE49-F238E27FC236}">
                <a16:creationId xmlns:a16="http://schemas.microsoft.com/office/drawing/2014/main" id="{87F53B79-A7EA-4B49-D06D-775F1D2CFF25}"/>
              </a:ext>
            </a:extLst>
          </p:cNvPr>
          <p:cNvSpPr txBox="1">
            <a:spLocks/>
          </p:cNvSpPr>
          <p:nvPr/>
        </p:nvSpPr>
        <p:spPr>
          <a:xfrm>
            <a:off x="1835694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3</a:t>
            </a:r>
          </a:p>
        </p:txBody>
      </p:sp>
      <p:sp>
        <p:nvSpPr>
          <p:cNvPr id="110" name="Title 1">
            <a:extLst>
              <a:ext uri="{FF2B5EF4-FFF2-40B4-BE49-F238E27FC236}">
                <a16:creationId xmlns:a16="http://schemas.microsoft.com/office/drawing/2014/main" id="{C835EB09-668E-4C8A-A2A7-F8A151EC1CEF}"/>
              </a:ext>
            </a:extLst>
          </p:cNvPr>
          <p:cNvSpPr txBox="1">
            <a:spLocks/>
          </p:cNvSpPr>
          <p:nvPr/>
        </p:nvSpPr>
        <p:spPr>
          <a:xfrm>
            <a:off x="1887768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4</a:t>
            </a:r>
          </a:p>
        </p:txBody>
      </p:sp>
      <p:sp>
        <p:nvSpPr>
          <p:cNvPr id="111" name="Title 1">
            <a:extLst>
              <a:ext uri="{FF2B5EF4-FFF2-40B4-BE49-F238E27FC236}">
                <a16:creationId xmlns:a16="http://schemas.microsoft.com/office/drawing/2014/main" id="{45A30690-87DB-97A6-7251-725A00CA335B}"/>
              </a:ext>
            </a:extLst>
          </p:cNvPr>
          <p:cNvSpPr txBox="1">
            <a:spLocks/>
          </p:cNvSpPr>
          <p:nvPr/>
        </p:nvSpPr>
        <p:spPr>
          <a:xfrm>
            <a:off x="1939842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5</a:t>
            </a:r>
          </a:p>
        </p:txBody>
      </p:sp>
      <p:sp>
        <p:nvSpPr>
          <p:cNvPr id="112" name="Title 1">
            <a:extLst>
              <a:ext uri="{FF2B5EF4-FFF2-40B4-BE49-F238E27FC236}">
                <a16:creationId xmlns:a16="http://schemas.microsoft.com/office/drawing/2014/main" id="{9C004B95-07AF-8EE2-E86D-EF3CA50A9589}"/>
              </a:ext>
            </a:extLst>
          </p:cNvPr>
          <p:cNvSpPr txBox="1">
            <a:spLocks/>
          </p:cNvSpPr>
          <p:nvPr/>
        </p:nvSpPr>
        <p:spPr>
          <a:xfrm>
            <a:off x="1991916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6</a:t>
            </a:r>
          </a:p>
        </p:txBody>
      </p:sp>
      <p:sp>
        <p:nvSpPr>
          <p:cNvPr id="113" name="Title 1">
            <a:extLst>
              <a:ext uri="{FF2B5EF4-FFF2-40B4-BE49-F238E27FC236}">
                <a16:creationId xmlns:a16="http://schemas.microsoft.com/office/drawing/2014/main" id="{0659E41C-0E16-F3A2-20C9-4FDB568F210A}"/>
              </a:ext>
            </a:extLst>
          </p:cNvPr>
          <p:cNvSpPr txBox="1">
            <a:spLocks/>
          </p:cNvSpPr>
          <p:nvPr/>
        </p:nvSpPr>
        <p:spPr>
          <a:xfrm>
            <a:off x="2043990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7</a:t>
            </a:r>
          </a:p>
        </p:txBody>
      </p:sp>
      <p:sp>
        <p:nvSpPr>
          <p:cNvPr id="114" name="Title 1">
            <a:extLst>
              <a:ext uri="{FF2B5EF4-FFF2-40B4-BE49-F238E27FC236}">
                <a16:creationId xmlns:a16="http://schemas.microsoft.com/office/drawing/2014/main" id="{A4D87001-CF60-FF85-131E-CC8D7514CC16}"/>
              </a:ext>
            </a:extLst>
          </p:cNvPr>
          <p:cNvSpPr txBox="1">
            <a:spLocks/>
          </p:cNvSpPr>
          <p:nvPr/>
        </p:nvSpPr>
        <p:spPr>
          <a:xfrm>
            <a:off x="2096064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8</a:t>
            </a:r>
          </a:p>
        </p:txBody>
      </p:sp>
      <p:sp>
        <p:nvSpPr>
          <p:cNvPr id="115" name="Title 1">
            <a:extLst>
              <a:ext uri="{FF2B5EF4-FFF2-40B4-BE49-F238E27FC236}">
                <a16:creationId xmlns:a16="http://schemas.microsoft.com/office/drawing/2014/main" id="{A9028B8F-1425-1040-0508-78780DA662EF}"/>
              </a:ext>
            </a:extLst>
          </p:cNvPr>
          <p:cNvSpPr txBox="1">
            <a:spLocks/>
          </p:cNvSpPr>
          <p:nvPr/>
        </p:nvSpPr>
        <p:spPr>
          <a:xfrm>
            <a:off x="2148138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9</a:t>
            </a:r>
          </a:p>
        </p:txBody>
      </p:sp>
      <p:sp>
        <p:nvSpPr>
          <p:cNvPr id="116" name="Title 1">
            <a:extLst>
              <a:ext uri="{FF2B5EF4-FFF2-40B4-BE49-F238E27FC236}">
                <a16:creationId xmlns:a16="http://schemas.microsoft.com/office/drawing/2014/main" id="{8BC381A2-E50E-2D1B-9B74-A227B470EDA3}"/>
              </a:ext>
            </a:extLst>
          </p:cNvPr>
          <p:cNvSpPr txBox="1">
            <a:spLocks/>
          </p:cNvSpPr>
          <p:nvPr/>
        </p:nvSpPr>
        <p:spPr>
          <a:xfrm>
            <a:off x="2200212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0</a:t>
            </a:r>
          </a:p>
        </p:txBody>
      </p:sp>
      <p:sp>
        <p:nvSpPr>
          <p:cNvPr id="117" name="Title 1">
            <a:extLst>
              <a:ext uri="{FF2B5EF4-FFF2-40B4-BE49-F238E27FC236}">
                <a16:creationId xmlns:a16="http://schemas.microsoft.com/office/drawing/2014/main" id="{92433986-0CAA-3161-CF7E-B3FE590E64F1}"/>
              </a:ext>
            </a:extLst>
          </p:cNvPr>
          <p:cNvSpPr txBox="1">
            <a:spLocks/>
          </p:cNvSpPr>
          <p:nvPr/>
        </p:nvSpPr>
        <p:spPr>
          <a:xfrm>
            <a:off x="2252286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1</a:t>
            </a:r>
          </a:p>
        </p:txBody>
      </p:sp>
      <p:sp>
        <p:nvSpPr>
          <p:cNvPr id="122" name="Title 1">
            <a:extLst>
              <a:ext uri="{FF2B5EF4-FFF2-40B4-BE49-F238E27FC236}">
                <a16:creationId xmlns:a16="http://schemas.microsoft.com/office/drawing/2014/main" id="{2EC8714A-5621-4E74-B795-222CA64A2ADC}"/>
              </a:ext>
            </a:extLst>
          </p:cNvPr>
          <p:cNvSpPr txBox="1">
            <a:spLocks/>
          </p:cNvSpPr>
          <p:nvPr/>
        </p:nvSpPr>
        <p:spPr>
          <a:xfrm>
            <a:off x="2304359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2</a:t>
            </a:r>
          </a:p>
        </p:txBody>
      </p:sp>
      <p:cxnSp>
        <p:nvCxnSpPr>
          <p:cNvPr id="123" name="Elbow Connector 37">
            <a:extLst>
              <a:ext uri="{FF2B5EF4-FFF2-40B4-BE49-F238E27FC236}">
                <a16:creationId xmlns:a16="http://schemas.microsoft.com/office/drawing/2014/main" id="{195FEADC-5DE3-F020-7F0F-55DCBA872BF5}"/>
              </a:ext>
            </a:extLst>
          </p:cNvPr>
          <p:cNvCxnSpPr>
            <a:cxnSpLocks/>
          </p:cNvCxnSpPr>
          <p:nvPr/>
        </p:nvCxnSpPr>
        <p:spPr>
          <a:xfrm flipV="1">
            <a:off x="888933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6" name="Elbow Connector 37">
            <a:extLst>
              <a:ext uri="{FF2B5EF4-FFF2-40B4-BE49-F238E27FC236}">
                <a16:creationId xmlns:a16="http://schemas.microsoft.com/office/drawing/2014/main" id="{06382597-1598-B733-394B-94B71DA4F02A}"/>
              </a:ext>
            </a:extLst>
          </p:cNvPr>
          <p:cNvCxnSpPr>
            <a:cxnSpLocks/>
          </p:cNvCxnSpPr>
          <p:nvPr/>
        </p:nvCxnSpPr>
        <p:spPr>
          <a:xfrm flipV="1">
            <a:off x="10999271"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7" name="Elbow Connector 37">
            <a:extLst>
              <a:ext uri="{FF2B5EF4-FFF2-40B4-BE49-F238E27FC236}">
                <a16:creationId xmlns:a16="http://schemas.microsoft.com/office/drawing/2014/main" id="{859DBF44-F23A-26A9-454C-39DAFB08874E}"/>
              </a:ext>
            </a:extLst>
          </p:cNvPr>
          <p:cNvCxnSpPr>
            <a:cxnSpLocks/>
          </p:cNvCxnSpPr>
          <p:nvPr/>
        </p:nvCxnSpPr>
        <p:spPr>
          <a:xfrm flipV="1">
            <a:off x="130599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8" name="Elbow Connector 37">
            <a:extLst>
              <a:ext uri="{FF2B5EF4-FFF2-40B4-BE49-F238E27FC236}">
                <a16:creationId xmlns:a16="http://schemas.microsoft.com/office/drawing/2014/main" id="{BB57000B-CD84-CECC-F094-907D52A85657}"/>
              </a:ext>
            </a:extLst>
          </p:cNvPr>
          <p:cNvCxnSpPr>
            <a:cxnSpLocks/>
          </p:cNvCxnSpPr>
          <p:nvPr/>
        </p:nvCxnSpPr>
        <p:spPr>
          <a:xfrm flipV="1">
            <a:off x="15137782"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9" name="Elbow Connector 37">
            <a:extLst>
              <a:ext uri="{FF2B5EF4-FFF2-40B4-BE49-F238E27FC236}">
                <a16:creationId xmlns:a16="http://schemas.microsoft.com/office/drawing/2014/main" id="{AD807D87-2EBD-9CBB-1F51-9CAF14DAA440}"/>
              </a:ext>
            </a:extLst>
          </p:cNvPr>
          <p:cNvCxnSpPr>
            <a:cxnSpLocks/>
          </p:cNvCxnSpPr>
          <p:nvPr/>
        </p:nvCxnSpPr>
        <p:spPr>
          <a:xfrm flipV="1">
            <a:off x="17222183"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0" name="Elbow Connector 37">
            <a:extLst>
              <a:ext uri="{FF2B5EF4-FFF2-40B4-BE49-F238E27FC236}">
                <a16:creationId xmlns:a16="http://schemas.microsoft.com/office/drawing/2014/main" id="{FC34BAC4-EFF3-B4D1-7E80-53FB5BE81B1B}"/>
              </a:ext>
            </a:extLst>
          </p:cNvPr>
          <p:cNvCxnSpPr>
            <a:cxnSpLocks/>
          </p:cNvCxnSpPr>
          <p:nvPr/>
        </p:nvCxnSpPr>
        <p:spPr>
          <a:xfrm flipV="1">
            <a:off x="193131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1" name="Elbow Connector 37">
            <a:extLst>
              <a:ext uri="{FF2B5EF4-FFF2-40B4-BE49-F238E27FC236}">
                <a16:creationId xmlns:a16="http://schemas.microsoft.com/office/drawing/2014/main" id="{9FFB18A0-1A39-3D7A-2BA4-FCB09E176CEE}"/>
              </a:ext>
            </a:extLst>
          </p:cNvPr>
          <p:cNvCxnSpPr>
            <a:cxnSpLocks/>
          </p:cNvCxnSpPr>
          <p:nvPr/>
        </p:nvCxnSpPr>
        <p:spPr>
          <a:xfrm flipV="1">
            <a:off x="21410608"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sp>
        <p:nvSpPr>
          <p:cNvPr id="135" name="Triangle 134">
            <a:extLst>
              <a:ext uri="{FF2B5EF4-FFF2-40B4-BE49-F238E27FC236}">
                <a16:creationId xmlns:a16="http://schemas.microsoft.com/office/drawing/2014/main" id="{8B3942DF-54DB-243E-46D8-2B02250DB7D4}"/>
              </a:ext>
            </a:extLst>
          </p:cNvPr>
          <p:cNvSpPr>
            <a:spLocks noChangeAspect="1"/>
          </p:cNvSpPr>
          <p:nvPr/>
        </p:nvSpPr>
        <p:spPr bwMode="gray">
          <a:xfrm>
            <a:off x="8593238" y="11844693"/>
            <a:ext cx="397434" cy="342616"/>
          </a:xfrm>
          <a:prstGeom prst="triangle">
            <a:avLst/>
          </a:prstGeom>
          <a:solidFill>
            <a:srgbClr val="92D050"/>
          </a:solidFill>
          <a:ln w="19050" cap="flat"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6" name="Triangle 135">
            <a:extLst>
              <a:ext uri="{FF2B5EF4-FFF2-40B4-BE49-F238E27FC236}">
                <a16:creationId xmlns:a16="http://schemas.microsoft.com/office/drawing/2014/main" id="{B4E603E7-0B7F-E45A-A9C9-753FF39E4E67}"/>
              </a:ext>
            </a:extLst>
          </p:cNvPr>
          <p:cNvSpPr>
            <a:spLocks noChangeAspect="1"/>
          </p:cNvSpPr>
          <p:nvPr/>
        </p:nvSpPr>
        <p:spPr bwMode="gray">
          <a:xfrm>
            <a:off x="12553623" y="11844693"/>
            <a:ext cx="397434" cy="342616"/>
          </a:xfrm>
          <a:prstGeom prst="triangle">
            <a:avLst/>
          </a:prstGeom>
          <a:solidFill>
            <a:srgbClr val="FFC000"/>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7" name="Triangle 136">
            <a:extLst>
              <a:ext uri="{FF2B5EF4-FFF2-40B4-BE49-F238E27FC236}">
                <a16:creationId xmlns:a16="http://schemas.microsoft.com/office/drawing/2014/main" id="{BD7780F1-A4C5-3E92-CA8A-1812AA4B8D2B}"/>
              </a:ext>
            </a:extLst>
          </p:cNvPr>
          <p:cNvSpPr>
            <a:spLocks noChangeAspect="1"/>
          </p:cNvSpPr>
          <p:nvPr/>
        </p:nvSpPr>
        <p:spPr bwMode="gray">
          <a:xfrm>
            <a:off x="19933435"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8" name="Triangle 137">
            <a:extLst>
              <a:ext uri="{FF2B5EF4-FFF2-40B4-BE49-F238E27FC236}">
                <a16:creationId xmlns:a16="http://schemas.microsoft.com/office/drawing/2014/main" id="{2BBDC407-6630-9640-A71C-F25D03114CD9}"/>
              </a:ext>
            </a:extLst>
          </p:cNvPr>
          <p:cNvSpPr>
            <a:spLocks noChangeAspect="1"/>
          </p:cNvSpPr>
          <p:nvPr/>
        </p:nvSpPr>
        <p:spPr bwMode="gray">
          <a:xfrm>
            <a:off x="22333272"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9" name="Rectangle 138">
            <a:extLst>
              <a:ext uri="{FF2B5EF4-FFF2-40B4-BE49-F238E27FC236}">
                <a16:creationId xmlns:a16="http://schemas.microsoft.com/office/drawing/2014/main" id="{6D246162-C6F1-ABA3-5A8C-342C363381D2}"/>
              </a:ext>
            </a:extLst>
          </p:cNvPr>
          <p:cNvSpPr>
            <a:spLocks noChangeAspect="1"/>
          </p:cNvSpPr>
          <p:nvPr/>
        </p:nvSpPr>
        <p:spPr bwMode="gray">
          <a:xfrm rot="2700000">
            <a:off x="7077033" y="1108206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0" name="Rectangle 139">
            <a:extLst>
              <a:ext uri="{FF2B5EF4-FFF2-40B4-BE49-F238E27FC236}">
                <a16:creationId xmlns:a16="http://schemas.microsoft.com/office/drawing/2014/main" id="{B1ECA419-7403-050F-AEDC-33E29DC56FB9}"/>
              </a:ext>
            </a:extLst>
          </p:cNvPr>
          <p:cNvSpPr>
            <a:spLocks noChangeAspect="1"/>
          </p:cNvSpPr>
          <p:nvPr/>
        </p:nvSpPr>
        <p:spPr bwMode="gray">
          <a:xfrm rot="2700000">
            <a:off x="813008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1" name="Rectangle 140">
            <a:extLst>
              <a:ext uri="{FF2B5EF4-FFF2-40B4-BE49-F238E27FC236}">
                <a16:creationId xmlns:a16="http://schemas.microsoft.com/office/drawing/2014/main" id="{289766AC-3B2D-B23D-DD9B-473A0B263296}"/>
              </a:ext>
            </a:extLst>
          </p:cNvPr>
          <p:cNvSpPr>
            <a:spLocks noChangeAspect="1"/>
          </p:cNvSpPr>
          <p:nvPr/>
        </p:nvSpPr>
        <p:spPr bwMode="gray">
          <a:xfrm rot="2700000">
            <a:off x="918313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2" name="Rectangle 141">
            <a:extLst>
              <a:ext uri="{FF2B5EF4-FFF2-40B4-BE49-F238E27FC236}">
                <a16:creationId xmlns:a16="http://schemas.microsoft.com/office/drawing/2014/main" id="{23AD93D7-BAA1-BB01-7DC3-60F30CE65A2C}"/>
              </a:ext>
            </a:extLst>
          </p:cNvPr>
          <p:cNvSpPr>
            <a:spLocks noChangeAspect="1"/>
          </p:cNvSpPr>
          <p:nvPr/>
        </p:nvSpPr>
        <p:spPr bwMode="gray">
          <a:xfrm rot="2700000">
            <a:off x="102361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3" name="Rectangle 142">
            <a:extLst>
              <a:ext uri="{FF2B5EF4-FFF2-40B4-BE49-F238E27FC236}">
                <a16:creationId xmlns:a16="http://schemas.microsoft.com/office/drawing/2014/main" id="{B68879D5-D8B4-BF00-7FDD-367AA4C51E7A}"/>
              </a:ext>
            </a:extLst>
          </p:cNvPr>
          <p:cNvSpPr>
            <a:spLocks noChangeAspect="1"/>
          </p:cNvSpPr>
          <p:nvPr/>
        </p:nvSpPr>
        <p:spPr bwMode="gray">
          <a:xfrm rot="2700000">
            <a:off x="1128923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4" name="Rectangle 143">
            <a:extLst>
              <a:ext uri="{FF2B5EF4-FFF2-40B4-BE49-F238E27FC236}">
                <a16:creationId xmlns:a16="http://schemas.microsoft.com/office/drawing/2014/main" id="{89ECD957-9D9E-C85D-792F-4E34B4A58AC0}"/>
              </a:ext>
            </a:extLst>
          </p:cNvPr>
          <p:cNvSpPr>
            <a:spLocks noChangeAspect="1"/>
          </p:cNvSpPr>
          <p:nvPr/>
        </p:nvSpPr>
        <p:spPr bwMode="gray">
          <a:xfrm rot="2700000">
            <a:off x="123422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5" name="Rectangle 144">
            <a:extLst>
              <a:ext uri="{FF2B5EF4-FFF2-40B4-BE49-F238E27FC236}">
                <a16:creationId xmlns:a16="http://schemas.microsoft.com/office/drawing/2014/main" id="{C6DC7D7C-712D-01AF-AEA5-F3433758E04A}"/>
              </a:ext>
            </a:extLst>
          </p:cNvPr>
          <p:cNvSpPr>
            <a:spLocks noChangeAspect="1"/>
          </p:cNvSpPr>
          <p:nvPr/>
        </p:nvSpPr>
        <p:spPr bwMode="gray">
          <a:xfrm rot="2700000">
            <a:off x="1339533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6" name="Rectangle 145">
            <a:extLst>
              <a:ext uri="{FF2B5EF4-FFF2-40B4-BE49-F238E27FC236}">
                <a16:creationId xmlns:a16="http://schemas.microsoft.com/office/drawing/2014/main" id="{E95471F2-3FA5-643A-F23A-A867079D67EA}"/>
              </a:ext>
            </a:extLst>
          </p:cNvPr>
          <p:cNvSpPr>
            <a:spLocks noChangeAspect="1"/>
          </p:cNvSpPr>
          <p:nvPr/>
        </p:nvSpPr>
        <p:spPr bwMode="gray">
          <a:xfrm rot="2700000">
            <a:off x="1444838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7" name="Rectangle 146">
            <a:extLst>
              <a:ext uri="{FF2B5EF4-FFF2-40B4-BE49-F238E27FC236}">
                <a16:creationId xmlns:a16="http://schemas.microsoft.com/office/drawing/2014/main" id="{CEA20365-A762-8FBD-AD6C-CBA01A117C45}"/>
              </a:ext>
            </a:extLst>
          </p:cNvPr>
          <p:cNvSpPr>
            <a:spLocks noChangeAspect="1"/>
          </p:cNvSpPr>
          <p:nvPr/>
        </p:nvSpPr>
        <p:spPr bwMode="gray">
          <a:xfrm rot="2700000">
            <a:off x="1550143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8" name="Rectangle 147">
            <a:extLst>
              <a:ext uri="{FF2B5EF4-FFF2-40B4-BE49-F238E27FC236}">
                <a16:creationId xmlns:a16="http://schemas.microsoft.com/office/drawing/2014/main" id="{6D32ECD3-BA55-02BB-7A03-1B5070D5D319}"/>
              </a:ext>
            </a:extLst>
          </p:cNvPr>
          <p:cNvSpPr>
            <a:spLocks noChangeAspect="1"/>
          </p:cNvSpPr>
          <p:nvPr/>
        </p:nvSpPr>
        <p:spPr bwMode="gray">
          <a:xfrm rot="2700000">
            <a:off x="1655448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9" name="Rectangle 148">
            <a:extLst>
              <a:ext uri="{FF2B5EF4-FFF2-40B4-BE49-F238E27FC236}">
                <a16:creationId xmlns:a16="http://schemas.microsoft.com/office/drawing/2014/main" id="{00555C2A-2BCE-BE17-F960-99531B38F5F2}"/>
              </a:ext>
            </a:extLst>
          </p:cNvPr>
          <p:cNvSpPr>
            <a:spLocks noChangeAspect="1"/>
          </p:cNvSpPr>
          <p:nvPr/>
        </p:nvSpPr>
        <p:spPr bwMode="gray">
          <a:xfrm rot="2700000">
            <a:off x="17607531"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0" name="Rectangle 149">
            <a:extLst>
              <a:ext uri="{FF2B5EF4-FFF2-40B4-BE49-F238E27FC236}">
                <a16:creationId xmlns:a16="http://schemas.microsoft.com/office/drawing/2014/main" id="{95EBD147-C60D-7C1F-682F-0FC04166E609}"/>
              </a:ext>
            </a:extLst>
          </p:cNvPr>
          <p:cNvSpPr>
            <a:spLocks noChangeAspect="1"/>
          </p:cNvSpPr>
          <p:nvPr/>
        </p:nvSpPr>
        <p:spPr bwMode="gray">
          <a:xfrm rot="2700000">
            <a:off x="186605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1" name="Rectangle 150">
            <a:extLst>
              <a:ext uri="{FF2B5EF4-FFF2-40B4-BE49-F238E27FC236}">
                <a16:creationId xmlns:a16="http://schemas.microsoft.com/office/drawing/2014/main" id="{0D4EC90E-AEDA-50F9-C459-6B37A602E7FC}"/>
              </a:ext>
            </a:extLst>
          </p:cNvPr>
          <p:cNvSpPr>
            <a:spLocks noChangeAspect="1"/>
          </p:cNvSpPr>
          <p:nvPr/>
        </p:nvSpPr>
        <p:spPr bwMode="gray">
          <a:xfrm rot="2700000">
            <a:off x="1971363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2" name="Rectangle 151">
            <a:extLst>
              <a:ext uri="{FF2B5EF4-FFF2-40B4-BE49-F238E27FC236}">
                <a16:creationId xmlns:a16="http://schemas.microsoft.com/office/drawing/2014/main" id="{93E32F20-9C32-3EE5-3FCE-432D25D1D88C}"/>
              </a:ext>
            </a:extLst>
          </p:cNvPr>
          <p:cNvSpPr>
            <a:spLocks noChangeAspect="1"/>
          </p:cNvSpPr>
          <p:nvPr/>
        </p:nvSpPr>
        <p:spPr bwMode="gray">
          <a:xfrm rot="2700000">
            <a:off x="207666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3" name="Rectangle 152">
            <a:extLst>
              <a:ext uri="{FF2B5EF4-FFF2-40B4-BE49-F238E27FC236}">
                <a16:creationId xmlns:a16="http://schemas.microsoft.com/office/drawing/2014/main" id="{6729C0A5-2B71-1FAB-538A-E6C7DC0716C4}"/>
              </a:ext>
            </a:extLst>
          </p:cNvPr>
          <p:cNvSpPr>
            <a:spLocks noChangeAspect="1"/>
          </p:cNvSpPr>
          <p:nvPr/>
        </p:nvSpPr>
        <p:spPr bwMode="gray">
          <a:xfrm rot="2700000">
            <a:off x="21819725" y="1108205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cxnSp>
        <p:nvCxnSpPr>
          <p:cNvPr id="154" name="Elbow Connector 37">
            <a:extLst>
              <a:ext uri="{FF2B5EF4-FFF2-40B4-BE49-F238E27FC236}">
                <a16:creationId xmlns:a16="http://schemas.microsoft.com/office/drawing/2014/main" id="{5D975031-44D4-4987-F5FA-8322D932F5DD}"/>
              </a:ext>
            </a:extLst>
          </p:cNvPr>
          <p:cNvCxnSpPr>
            <a:cxnSpLocks/>
          </p:cNvCxnSpPr>
          <p:nvPr/>
        </p:nvCxnSpPr>
        <p:spPr>
          <a:xfrm>
            <a:off x="795715" y="1077667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55" name="Title 1">
            <a:extLst>
              <a:ext uri="{FF2B5EF4-FFF2-40B4-BE49-F238E27FC236}">
                <a16:creationId xmlns:a16="http://schemas.microsoft.com/office/drawing/2014/main" id="{0395FCEA-C4D9-85AA-8779-0A23EDCE496F}"/>
              </a:ext>
            </a:extLst>
          </p:cNvPr>
          <p:cNvSpPr txBox="1">
            <a:spLocks/>
          </p:cNvSpPr>
          <p:nvPr/>
        </p:nvSpPr>
        <p:spPr>
          <a:xfrm>
            <a:off x="835069" y="10945111"/>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Key meetings</a:t>
            </a:r>
            <a:endParaRPr lang="en-US" sz="2400" dirty="0">
              <a:latin typeface="Montserrat SemiBold" pitchFamily="2" charset="77"/>
            </a:endParaRPr>
          </a:p>
        </p:txBody>
      </p:sp>
      <p:cxnSp>
        <p:nvCxnSpPr>
          <p:cNvPr id="158" name="Elbow Connector 37">
            <a:extLst>
              <a:ext uri="{FF2B5EF4-FFF2-40B4-BE49-F238E27FC236}">
                <a16:creationId xmlns:a16="http://schemas.microsoft.com/office/drawing/2014/main" id="{70A439C0-B76A-2BCE-ECB1-6464CE6E1B75}"/>
              </a:ext>
            </a:extLst>
          </p:cNvPr>
          <p:cNvCxnSpPr>
            <a:cxnSpLocks/>
          </p:cNvCxnSpPr>
          <p:nvPr/>
        </p:nvCxnSpPr>
        <p:spPr>
          <a:xfrm flipV="1">
            <a:off x="2013215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cxnSp>
        <p:nvCxnSpPr>
          <p:cNvPr id="159" name="Elbow Connector 37">
            <a:extLst>
              <a:ext uri="{FF2B5EF4-FFF2-40B4-BE49-F238E27FC236}">
                <a16:creationId xmlns:a16="http://schemas.microsoft.com/office/drawing/2014/main" id="{A389AFE3-C8F8-F10E-7923-5256E7166C54}"/>
              </a:ext>
            </a:extLst>
          </p:cNvPr>
          <p:cNvCxnSpPr>
            <a:cxnSpLocks/>
          </p:cNvCxnSpPr>
          <p:nvPr/>
        </p:nvCxnSpPr>
        <p:spPr>
          <a:xfrm flipV="1">
            <a:off x="8791955" y="2322578"/>
            <a:ext cx="0" cy="9601061"/>
          </a:xfrm>
          <a:prstGeom prst="straightConnector1">
            <a:avLst/>
          </a:prstGeom>
          <a:ln w="19050">
            <a:solidFill>
              <a:srgbClr val="92D050"/>
            </a:solidFill>
            <a:prstDash val="solid"/>
          </a:ln>
        </p:spPr>
        <p:style>
          <a:lnRef idx="1">
            <a:schemeClr val="dk1"/>
          </a:lnRef>
          <a:fillRef idx="0">
            <a:schemeClr val="dk1"/>
          </a:fillRef>
          <a:effectRef idx="0">
            <a:schemeClr val="dk1"/>
          </a:effectRef>
          <a:fontRef idx="minor">
            <a:schemeClr val="tx1"/>
          </a:fontRef>
        </p:style>
      </p:cxnSp>
      <p:cxnSp>
        <p:nvCxnSpPr>
          <p:cNvPr id="160" name="Elbow Connector 37">
            <a:extLst>
              <a:ext uri="{FF2B5EF4-FFF2-40B4-BE49-F238E27FC236}">
                <a16:creationId xmlns:a16="http://schemas.microsoft.com/office/drawing/2014/main" id="{9ED40E0B-2A41-A867-A996-D83A4A848076}"/>
              </a:ext>
            </a:extLst>
          </p:cNvPr>
          <p:cNvCxnSpPr>
            <a:cxnSpLocks/>
          </p:cNvCxnSpPr>
          <p:nvPr/>
        </p:nvCxnSpPr>
        <p:spPr>
          <a:xfrm flipV="1">
            <a:off x="12767805" y="2322578"/>
            <a:ext cx="0" cy="9601061"/>
          </a:xfrm>
          <a:prstGeom prst="straightConnector1">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62" name="Elbow Connector 37">
            <a:extLst>
              <a:ext uri="{FF2B5EF4-FFF2-40B4-BE49-F238E27FC236}">
                <a16:creationId xmlns:a16="http://schemas.microsoft.com/office/drawing/2014/main" id="{4AFB57A0-2D5D-2442-2A09-F6B4BD98BC74}"/>
              </a:ext>
            </a:extLst>
          </p:cNvPr>
          <p:cNvCxnSpPr>
            <a:cxnSpLocks/>
          </p:cNvCxnSpPr>
          <p:nvPr/>
        </p:nvCxnSpPr>
        <p:spPr>
          <a:xfrm flipV="1">
            <a:off x="2252286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sp>
        <p:nvSpPr>
          <p:cNvPr id="166" name="Title 1">
            <a:extLst>
              <a:ext uri="{FF2B5EF4-FFF2-40B4-BE49-F238E27FC236}">
                <a16:creationId xmlns:a16="http://schemas.microsoft.com/office/drawing/2014/main" id="{39615CAF-A5E5-7A88-D01D-802D4B046E55}"/>
              </a:ext>
            </a:extLst>
          </p:cNvPr>
          <p:cNvSpPr txBox="1">
            <a:spLocks/>
          </p:cNvSpPr>
          <p:nvPr/>
        </p:nvSpPr>
        <p:spPr>
          <a:xfrm>
            <a:off x="11862645"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2</a:t>
            </a:r>
            <a:r>
              <a:rPr lang="en-US" sz="1800" b="0" baseline="30000">
                <a:solidFill>
                  <a:schemeClr val="tx1"/>
                </a:solidFill>
                <a:latin typeface="Montserrat SemiBold" pitchFamily="2" charset="77"/>
              </a:rPr>
              <a:t>nd</a:t>
            </a:r>
            <a:r>
              <a:rPr lang="en-US" sz="1800" b="0">
                <a:solidFill>
                  <a:schemeClr val="tx1"/>
                </a:solidFill>
                <a:latin typeface="Montserrat SemiBold" pitchFamily="2" charset="77"/>
              </a:rPr>
              <a:t> All Hands</a:t>
            </a:r>
          </a:p>
        </p:txBody>
      </p:sp>
      <p:sp>
        <p:nvSpPr>
          <p:cNvPr id="168" name="Title 1">
            <a:extLst>
              <a:ext uri="{FF2B5EF4-FFF2-40B4-BE49-F238E27FC236}">
                <a16:creationId xmlns:a16="http://schemas.microsoft.com/office/drawing/2014/main" id="{314DF975-99CB-4DAE-7EB0-74D49E4EB748}"/>
              </a:ext>
            </a:extLst>
          </p:cNvPr>
          <p:cNvSpPr txBox="1">
            <a:spLocks/>
          </p:cNvSpPr>
          <p:nvPr/>
        </p:nvSpPr>
        <p:spPr>
          <a:xfrm>
            <a:off x="18602212" y="12299457"/>
            <a:ext cx="3059884"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dirty="0">
                <a:solidFill>
                  <a:schemeClr val="tx1"/>
                </a:solidFill>
                <a:latin typeface="Montserrat SemiBold" pitchFamily="2" charset="77"/>
              </a:rPr>
              <a:t>DD.MM</a:t>
            </a:r>
          </a:p>
          <a:p>
            <a:pPr algn="ctr"/>
            <a:r>
              <a:rPr lang="en-US" sz="1800" b="0" dirty="0">
                <a:solidFill>
                  <a:schemeClr val="tx1"/>
                </a:solidFill>
                <a:latin typeface="Montserrat SemiBold" pitchFamily="2" charset="77"/>
              </a:rPr>
              <a:t>Draft submission</a:t>
            </a:r>
          </a:p>
        </p:txBody>
      </p:sp>
      <p:sp>
        <p:nvSpPr>
          <p:cNvPr id="169" name="Title 1">
            <a:extLst>
              <a:ext uri="{FF2B5EF4-FFF2-40B4-BE49-F238E27FC236}">
                <a16:creationId xmlns:a16="http://schemas.microsoft.com/office/drawing/2014/main" id="{101B040D-BEAF-9D08-C5EC-01DBFEE0F398}"/>
              </a:ext>
            </a:extLst>
          </p:cNvPr>
          <p:cNvSpPr txBox="1">
            <a:spLocks/>
          </p:cNvSpPr>
          <p:nvPr/>
        </p:nvSpPr>
        <p:spPr>
          <a:xfrm>
            <a:off x="21626499" y="12299457"/>
            <a:ext cx="1845588"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08.08</a:t>
            </a:r>
          </a:p>
          <a:p>
            <a:pPr algn="ctr"/>
            <a:r>
              <a:rPr lang="en-US" sz="1800" b="0">
                <a:solidFill>
                  <a:schemeClr val="tx1"/>
                </a:solidFill>
                <a:latin typeface="Montserrat SemiBold" pitchFamily="2" charset="77"/>
              </a:rPr>
              <a:t>Submission</a:t>
            </a:r>
          </a:p>
        </p:txBody>
      </p:sp>
    </p:spTree>
    <p:extLst>
      <p:ext uri="{BB962C8B-B14F-4D97-AF65-F5344CB8AC3E}">
        <p14:creationId xmlns:p14="http://schemas.microsoft.com/office/powerpoint/2010/main" val="337435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67FF4-2817-30D0-F77E-3B273582B4AF}"/>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5FDD263B-1DF3-CD5B-D73B-8C7AA7B4ABE6}"/>
              </a:ext>
            </a:extLst>
          </p:cNvPr>
          <p:cNvSpPr txBox="1">
            <a:spLocks/>
          </p:cNvSpPr>
          <p:nvPr/>
        </p:nvSpPr>
        <p:spPr>
          <a:xfrm>
            <a:off x="672643" y="450271"/>
            <a:ext cx="22927295" cy="523163"/>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7" name="Title 1">
            <a:extLst>
              <a:ext uri="{FF2B5EF4-FFF2-40B4-BE49-F238E27FC236}">
                <a16:creationId xmlns:a16="http://schemas.microsoft.com/office/drawing/2014/main" id="{829BB15A-3382-86E2-5EED-47BAC8E6060E}"/>
              </a:ext>
            </a:extLst>
          </p:cNvPr>
          <p:cNvSpPr txBox="1">
            <a:spLocks/>
          </p:cNvSpPr>
          <p:nvPr/>
        </p:nvSpPr>
        <p:spPr>
          <a:xfrm>
            <a:off x="815975" y="2329852"/>
            <a:ext cx="22855863" cy="879014"/>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List of tasks</a:t>
            </a:r>
          </a:p>
        </p:txBody>
      </p:sp>
      <p:graphicFrame>
        <p:nvGraphicFramePr>
          <p:cNvPr id="2" name="Table 1">
            <a:extLst>
              <a:ext uri="{FF2B5EF4-FFF2-40B4-BE49-F238E27FC236}">
                <a16:creationId xmlns:a16="http://schemas.microsoft.com/office/drawing/2014/main" id="{FFA35BC6-0AD6-FF36-7318-874CE8E14AC0}"/>
              </a:ext>
            </a:extLst>
          </p:cNvPr>
          <p:cNvGraphicFramePr>
            <a:graphicFrameLocks noGrp="1"/>
          </p:cNvGraphicFramePr>
          <p:nvPr>
            <p:extLst>
              <p:ext uri="{D42A27DB-BD31-4B8C-83A1-F6EECF244321}">
                <p14:modId xmlns:p14="http://schemas.microsoft.com/office/powerpoint/2010/main" val="3427402581"/>
              </p:ext>
            </p:extLst>
          </p:nvPr>
        </p:nvGraphicFramePr>
        <p:xfrm>
          <a:off x="899097" y="3561455"/>
          <a:ext cx="22672103" cy="7318349"/>
        </p:xfrm>
        <a:graphic>
          <a:graphicData uri="http://schemas.openxmlformats.org/drawingml/2006/table">
            <a:tbl>
              <a:tblPr firstRow="1" bandRow="1">
                <a:tableStyleId>{5C22544A-7EE6-4342-B048-85BDC9FD1C3A}</a:tableStyleId>
              </a:tblPr>
              <a:tblGrid>
                <a:gridCol w="1889812">
                  <a:extLst>
                    <a:ext uri="{9D8B030D-6E8A-4147-A177-3AD203B41FA5}">
                      <a16:colId xmlns:a16="http://schemas.microsoft.com/office/drawing/2014/main" val="2116237505"/>
                    </a:ext>
                  </a:extLst>
                </a:gridCol>
                <a:gridCol w="10842923">
                  <a:extLst>
                    <a:ext uri="{9D8B030D-6E8A-4147-A177-3AD203B41FA5}">
                      <a16:colId xmlns:a16="http://schemas.microsoft.com/office/drawing/2014/main" val="3513178640"/>
                    </a:ext>
                  </a:extLst>
                </a:gridCol>
                <a:gridCol w="5421460">
                  <a:extLst>
                    <a:ext uri="{9D8B030D-6E8A-4147-A177-3AD203B41FA5}">
                      <a16:colId xmlns:a16="http://schemas.microsoft.com/office/drawing/2014/main" val="1316039069"/>
                    </a:ext>
                  </a:extLst>
                </a:gridCol>
                <a:gridCol w="4517908">
                  <a:extLst>
                    <a:ext uri="{9D8B030D-6E8A-4147-A177-3AD203B41FA5}">
                      <a16:colId xmlns:a16="http://schemas.microsoft.com/office/drawing/2014/main" val="1656963202"/>
                    </a:ext>
                  </a:extLst>
                </a:gridCol>
              </a:tblGrid>
              <a:tr h="698039">
                <a:tc>
                  <a:txBody>
                    <a:bodyPr/>
                    <a:lstStyle/>
                    <a:p>
                      <a:pPr algn="l"/>
                      <a:r>
                        <a:rPr lang="en-US" sz="2400" dirty="0">
                          <a:latin typeface="Montserrat" pitchFamily="2" charset="77"/>
                        </a:rPr>
                        <a:t>Task No.</a:t>
                      </a:r>
                    </a:p>
                  </a:txBody>
                  <a:tcPr marL="91439" marR="91439" marT="45719" marB="45719" anchor="ctr">
                    <a:solidFill>
                      <a:srgbClr val="0081FB"/>
                    </a:solidFill>
                  </a:tcPr>
                </a:tc>
                <a:tc>
                  <a:txBody>
                    <a:bodyPr/>
                    <a:lstStyle/>
                    <a:p>
                      <a:pPr algn="l"/>
                      <a:r>
                        <a:rPr lang="en-US" sz="2400" dirty="0">
                          <a:latin typeface="Montserrat" pitchFamily="2" charset="77"/>
                        </a:rPr>
                        <a:t>Tasks</a:t>
                      </a:r>
                    </a:p>
                  </a:txBody>
                  <a:tcPr marL="91439" marR="91439" marT="45719" marB="45719" anchor="ctr">
                    <a:solidFill>
                      <a:srgbClr val="0081FB"/>
                    </a:solidFill>
                  </a:tcPr>
                </a:tc>
                <a:tc>
                  <a:txBody>
                    <a:bodyPr/>
                    <a:lstStyle/>
                    <a:p>
                      <a:pPr algn="ctr"/>
                      <a:r>
                        <a:rPr lang="en-US" sz="2400" dirty="0">
                          <a:latin typeface="Montserrat" pitchFamily="2" charset="77"/>
                        </a:rPr>
                        <a:t>Deadline</a:t>
                      </a:r>
                    </a:p>
                  </a:txBody>
                  <a:tcPr marL="91439" marR="91439" marT="45719" marB="45719" anchor="ctr">
                    <a:solidFill>
                      <a:srgbClr val="0081FB"/>
                    </a:solidFill>
                  </a:tcPr>
                </a:tc>
                <a:tc>
                  <a:txBody>
                    <a:bodyPr/>
                    <a:lstStyle/>
                    <a:p>
                      <a:pPr algn="ctr"/>
                      <a:r>
                        <a:rPr lang="en-US" sz="2400">
                          <a:latin typeface="Montserrat" pitchFamily="2" charset="77"/>
                        </a:rPr>
                        <a:t>Project Member</a:t>
                      </a:r>
                    </a:p>
                  </a:txBody>
                  <a:tcPr marL="91439" marR="91439" marT="45719" marB="45719" anchor="ctr">
                    <a:solidFill>
                      <a:srgbClr val="0081FB"/>
                    </a:solidFill>
                  </a:tcPr>
                </a:tc>
                <a:extLst>
                  <a:ext uri="{0D108BD9-81ED-4DB2-BD59-A6C34878D82A}">
                    <a16:rowId xmlns:a16="http://schemas.microsoft.com/office/drawing/2014/main" val="1054279657"/>
                  </a:ext>
                </a:extLst>
              </a:tr>
              <a:tr h="662031">
                <a:tc>
                  <a:txBody>
                    <a:bodyPr/>
                    <a:lstStyle/>
                    <a:p>
                      <a:pPr algn="ctr"/>
                      <a:r>
                        <a:rPr lang="en-US" sz="2400" dirty="0">
                          <a:latin typeface="Montserrat" pitchFamily="2" charset="77"/>
                        </a:rPr>
                        <a:t>1</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Literature review: Develop understanding of subject matter</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 </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Prapti</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1705149021"/>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2</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Gather relevant satellite and water quality train data</a:t>
                      </a: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a:t>
                      </a:r>
                    </a:p>
                  </a:txBody>
                  <a:tcPr marL="91439" marR="91439" marT="45719" marB="45719" anchor="ctr">
                    <a:solidFill>
                      <a:srgbClr val="C8D4FF"/>
                    </a:solidFill>
                  </a:tcPr>
                </a:tc>
                <a:tc>
                  <a:txBody>
                    <a:bodyPr/>
                    <a:lstStyle/>
                    <a:p>
                      <a:pPr algn="ctr"/>
                      <a:r>
                        <a:rPr lang="en-US" sz="2400" dirty="0">
                          <a:latin typeface="Montserrat" pitchFamily="2" charset="77"/>
                        </a:rPr>
                        <a:t>Imar, Bhavika</a:t>
                      </a:r>
                    </a:p>
                  </a:txBody>
                  <a:tcPr marL="91439" marR="91439" marT="45719" marB="45719" anchor="ctr">
                    <a:solidFill>
                      <a:srgbClr val="C8D4FF"/>
                    </a:solidFill>
                  </a:tcPr>
                </a:tc>
                <a:extLst>
                  <a:ext uri="{0D108BD9-81ED-4DB2-BD59-A6C34878D82A}">
                    <a16:rowId xmlns:a16="http://schemas.microsoft.com/office/drawing/2014/main" val="3498757143"/>
                  </a:ext>
                </a:extLst>
              </a:tr>
              <a:tr h="662031">
                <a:tc>
                  <a:txBody>
                    <a:bodyPr/>
                    <a:lstStyle/>
                    <a:p>
                      <a:pPr algn="ctr"/>
                      <a:r>
                        <a:rPr lang="en-US" sz="2400" dirty="0">
                          <a:latin typeface="Montserrat" pitchFamily="2" charset="77"/>
                        </a:rPr>
                        <a:t>3</a:t>
                      </a:r>
                    </a:p>
                  </a:txBody>
                  <a:tcPr marL="91439" marR="91439" marT="45719" marB="45719" anchor="ctr">
                    <a:no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lean and merge data, create necessary features</a:t>
                      </a:r>
                    </a:p>
                  </a:txBody>
                  <a:tcPr marL="91439" marR="91439" marT="45719" marB="45719" anchor="ctr">
                    <a:no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ebruary</a:t>
                      </a:r>
                      <a:endPar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endParaRPr>
                    </a:p>
                  </a:txBody>
                  <a:tcPr marL="91439" marR="91439" marT="45719" marB="45719" anchor="ctr">
                    <a:no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Bhavika</a:t>
                      </a:r>
                      <a:endParaRPr lang="en-US" sz="2400" dirty="0">
                        <a:latin typeface="Montserrat" pitchFamily="2" charset="77"/>
                      </a:endParaRPr>
                    </a:p>
                  </a:txBody>
                  <a:tcPr marL="91439" marR="91439" marT="45719" marB="45719" anchor="ctr">
                    <a:noFill/>
                  </a:tcPr>
                </a:tc>
                <a:extLst>
                  <a:ext uri="{0D108BD9-81ED-4DB2-BD59-A6C34878D82A}">
                    <a16:rowId xmlns:a16="http://schemas.microsoft.com/office/drawing/2014/main" val="4157663881"/>
                  </a:ext>
                </a:extLst>
              </a:tr>
              <a:tr h="662031">
                <a:tc>
                  <a:txBody>
                    <a:bodyPr/>
                    <a:lstStyle/>
                    <a:p>
                      <a:pPr algn="ctr"/>
                      <a:r>
                        <a:rPr lang="en-US" sz="2400" dirty="0">
                          <a:latin typeface="Montserrat" pitchFamily="2" charset="77"/>
                        </a:rPr>
                        <a:t>4</a:t>
                      </a:r>
                    </a:p>
                  </a:txBody>
                  <a:tcPr marL="91439" marR="91439" marT="45719" marB="45719" anchor="ctr">
                    <a:solidFill>
                      <a:srgbClr val="C8D4FF"/>
                    </a:solidFill>
                  </a:tcPr>
                </a:tc>
                <a:tc>
                  <a:txBody>
                    <a:bodyPr/>
                    <a:lstStyle/>
                    <a:p>
                      <a:pPr algn="l"/>
                      <a:r>
                        <a:rPr lang="en-US" sz="2400" dirty="0">
                          <a:latin typeface="Montserrat" pitchFamily="2" charset="77"/>
                        </a:rPr>
                        <a:t>Build models and iteratively improve</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rch - April</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Imar, Prapti</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4207475007"/>
                  </a:ext>
                </a:extLst>
              </a:tr>
              <a:tr h="662031">
                <a:tc>
                  <a:txBody>
                    <a:bodyPr/>
                    <a:lstStyle/>
                    <a:p>
                      <a:pPr algn="ctr"/>
                      <a:r>
                        <a:rPr lang="en-US" sz="2400" dirty="0">
                          <a:latin typeface="Montserrat" pitchFamily="2" charset="77"/>
                        </a:rPr>
                        <a:t>5</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ontinuously evaluate and improve models</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pril - May</a:t>
                      </a:r>
                      <a:endParaRPr lang="en-US" sz="2400" dirty="0">
                        <a:latin typeface="Montserrat" pitchFamily="2" charset="77"/>
                      </a:endParaRP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ll Members</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3372743409"/>
                  </a:ext>
                </a:extLst>
              </a:tr>
              <a:tr h="662031">
                <a:tc>
                  <a:txBody>
                    <a:bodyPr/>
                    <a:lstStyle/>
                    <a:p>
                      <a:pPr algn="ctr"/>
                      <a:r>
                        <a:rPr lang="en-US" sz="2400" dirty="0">
                          <a:latin typeface="Montserrat" pitchFamily="2" charset="77"/>
                        </a:rPr>
                        <a:t>6</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Select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y</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Imar</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1121801147"/>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7</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Draft report outline and content</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May</a:t>
                      </a:r>
                    </a:p>
                  </a:txBody>
                  <a:tcPr marL="91439" marR="91439" marT="45719" marB="45719" anchor="ctr">
                    <a:solidFill>
                      <a:schemeClr val="bg1"/>
                    </a:solidFill>
                  </a:tcPr>
                </a:tc>
                <a:tc>
                  <a:txBody>
                    <a:bodyPr/>
                    <a:lstStyle/>
                    <a:p>
                      <a:pPr algn="ctr"/>
                      <a:r>
                        <a:rPr lang="en-US" sz="2400" dirty="0">
                          <a:latin typeface="Montserrat" pitchFamily="2" charset="77"/>
                        </a:rPr>
                        <a:t>Imar, Bhavika</a:t>
                      </a:r>
                    </a:p>
                  </a:txBody>
                  <a:tcPr marL="91439" marR="91439" marT="45719" marB="45719" anchor="ctr">
                    <a:solidFill>
                      <a:schemeClr val="bg1"/>
                    </a:solidFill>
                  </a:tcPr>
                </a:tc>
                <a:extLst>
                  <a:ext uri="{0D108BD9-81ED-4DB2-BD59-A6C34878D82A}">
                    <a16:rowId xmlns:a16="http://schemas.microsoft.com/office/drawing/2014/main" val="2311439313"/>
                  </a:ext>
                </a:extLst>
              </a:tr>
              <a:tr h="662031">
                <a:tc>
                  <a:txBody>
                    <a:bodyPr/>
                    <a:lstStyle/>
                    <a:p>
                      <a:pPr algn="ctr"/>
                      <a:r>
                        <a:rPr lang="en-US" sz="2400" dirty="0">
                          <a:latin typeface="Montserrat" pitchFamily="2" charset="77"/>
                        </a:rPr>
                        <a:t>8</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ine-tune the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une</a:t>
                      </a:r>
                      <a:endParaRPr lang="en-US" sz="2400" dirty="0">
                        <a:latin typeface="Montserrat" pitchFamily="2" charset="77"/>
                      </a:endParaRPr>
                    </a:p>
                  </a:txBody>
                  <a:tcPr marL="91439" marR="91439" marT="45719" marB="45719" anchor="ctr">
                    <a:solidFill>
                      <a:srgbClr val="C8D4FF"/>
                    </a:solidFill>
                  </a:tcPr>
                </a:tc>
                <a:tc>
                  <a:txBody>
                    <a:bodyPr/>
                    <a:lstStyle/>
                    <a:p>
                      <a:pPr algn="ctr"/>
                      <a:r>
                        <a:rPr lang="en-US" sz="2400" dirty="0">
                          <a:latin typeface="Montserrat" pitchFamily="2" charset="77"/>
                        </a:rPr>
                        <a:t>Shavya, Prapti</a:t>
                      </a:r>
                    </a:p>
                  </a:txBody>
                  <a:tcPr marL="91439" marR="91439" marT="45719" marB="45719" anchor="ctr">
                    <a:solidFill>
                      <a:srgbClr val="C8D4FF"/>
                    </a:solidFill>
                  </a:tcPr>
                </a:tc>
                <a:extLst>
                  <a:ext uri="{0D108BD9-81ED-4DB2-BD59-A6C34878D82A}">
                    <a16:rowId xmlns:a16="http://schemas.microsoft.com/office/drawing/2014/main" val="827698672"/>
                  </a:ext>
                </a:extLst>
              </a:tr>
              <a:tr h="662031">
                <a:tc>
                  <a:txBody>
                    <a:bodyPr/>
                    <a:lstStyle/>
                    <a:p>
                      <a:pPr algn="ctr"/>
                      <a:r>
                        <a:rPr lang="en-US" sz="2400" dirty="0">
                          <a:latin typeface="Montserrat" pitchFamily="2" charset="77"/>
                        </a:rPr>
                        <a:t>9</a:t>
                      </a:r>
                    </a:p>
                  </a:txBody>
                  <a:tcPr marL="91439" marR="91439" marT="45719" marB="45719" anchor="ctr">
                    <a:solidFill>
                      <a:schemeClr val="bg1"/>
                    </a:solidFill>
                  </a:tcPr>
                </a:tc>
                <a:tc>
                  <a:txBody>
                    <a:bodyPr/>
                    <a:lstStyle/>
                    <a:p>
                      <a:pPr algn="l"/>
                      <a:r>
                        <a:rPr lang="en-US" sz="2400" dirty="0">
                          <a:latin typeface="Montserrat" pitchFamily="2" charset="77"/>
                        </a:rPr>
                        <a:t>Work on creating the foundational model</a:t>
                      </a:r>
                    </a:p>
                  </a:txBody>
                  <a:tcPr marL="91439" marR="91439" marT="45719" marB="45719" anchor="ctr">
                    <a:solidFill>
                      <a:schemeClr val="bg1"/>
                    </a:solidFill>
                  </a:tcPr>
                </a:tc>
                <a:tc>
                  <a:txBody>
                    <a:bodyPr/>
                    <a:lstStyle/>
                    <a:p>
                      <a:pPr algn="ctr"/>
                      <a:r>
                        <a:rPr lang="en-US" sz="2400" dirty="0">
                          <a:latin typeface="Montserrat" pitchFamily="2" charset="77"/>
                        </a:rPr>
                        <a:t>June</a:t>
                      </a:r>
                    </a:p>
                  </a:txBody>
                  <a:tcPr marL="91439" marR="91439" marT="45719" marB="45719" anchor="ctr">
                    <a:solidFill>
                      <a:schemeClr val="bg1"/>
                    </a:solidFill>
                  </a:tcPr>
                </a:tc>
                <a:tc>
                  <a:txBody>
                    <a:bodyPr/>
                    <a:lstStyle/>
                    <a:p>
                      <a:pPr algn="ctr"/>
                      <a:r>
                        <a:rPr lang="en-US" sz="2400" dirty="0">
                          <a:latin typeface="Montserrat" pitchFamily="2" charset="77"/>
                        </a:rPr>
                        <a:t>All members</a:t>
                      </a:r>
                    </a:p>
                  </a:txBody>
                  <a:tcPr marL="91439" marR="91439" marT="45719" marB="45719" anchor="ctr">
                    <a:solidFill>
                      <a:schemeClr val="bg1"/>
                    </a:solidFill>
                  </a:tcPr>
                </a:tc>
                <a:extLst>
                  <a:ext uri="{0D108BD9-81ED-4DB2-BD59-A6C34878D82A}">
                    <a16:rowId xmlns:a16="http://schemas.microsoft.com/office/drawing/2014/main" val="3731689911"/>
                  </a:ext>
                </a:extLst>
              </a:tr>
              <a:tr h="662031">
                <a:tc>
                  <a:txBody>
                    <a:bodyPr/>
                    <a:lstStyle/>
                    <a:p>
                      <a:pPr algn="ctr"/>
                      <a:r>
                        <a:rPr lang="en-US" sz="2400" dirty="0">
                          <a:latin typeface="Montserrat" pitchFamily="2" charset="77"/>
                        </a:rPr>
                        <a:t>10</a:t>
                      </a:r>
                    </a:p>
                  </a:txBody>
                  <a:tcPr marL="91439" marR="91439" marT="45719" marB="45719" anchor="ctr">
                    <a:solidFill>
                      <a:srgbClr val="C8D4FF"/>
                    </a:solidFill>
                  </a:tcPr>
                </a:tc>
                <a:tc>
                  <a:txBody>
                    <a:bodyPr/>
                    <a:lstStyle/>
                    <a:p>
                      <a:pPr algn="l"/>
                      <a:r>
                        <a:rPr lang="en-US" sz="2400" dirty="0">
                          <a:latin typeface="Montserrat" pitchFamily="2" charset="77"/>
                        </a:rPr>
                        <a:t>Finalize report and incorporate feedback</a:t>
                      </a:r>
                    </a:p>
                  </a:txBody>
                  <a:tcPr marL="91439" marR="91439" marT="45719" marB="45719" anchor="ctr">
                    <a:solidFill>
                      <a:srgbClr val="C8D4FF"/>
                    </a:solidFill>
                  </a:tcPr>
                </a:tc>
                <a:tc>
                  <a:txBody>
                    <a:bodyPr/>
                    <a:lstStyle/>
                    <a:p>
                      <a:pPr algn="ctr"/>
                      <a:r>
                        <a:rPr lang="en-US" sz="2400" dirty="0">
                          <a:latin typeface="Montserrat" pitchFamily="2" charset="77"/>
                        </a:rPr>
                        <a:t>July - August</a:t>
                      </a:r>
                    </a:p>
                  </a:txBody>
                  <a:tcPr marL="91439" marR="91439" marT="45719" marB="45719" anchor="ctr">
                    <a:solidFill>
                      <a:srgbClr val="C8D4FF"/>
                    </a:solidFill>
                  </a:tcPr>
                </a:tc>
                <a:tc>
                  <a:txBody>
                    <a:bodyPr/>
                    <a:lstStyle/>
                    <a:p>
                      <a:pPr algn="ctr"/>
                      <a:r>
                        <a:rPr lang="en-US" sz="2400" dirty="0">
                          <a:latin typeface="Montserrat" pitchFamily="2" charset="77"/>
                        </a:rPr>
                        <a:t>All members</a:t>
                      </a:r>
                    </a:p>
                  </a:txBody>
                  <a:tcPr marL="91439" marR="91439" marT="45719" marB="45719" anchor="ctr">
                    <a:solidFill>
                      <a:srgbClr val="C8D4FF"/>
                    </a:solidFill>
                  </a:tcPr>
                </a:tc>
                <a:extLst>
                  <a:ext uri="{0D108BD9-81ED-4DB2-BD59-A6C34878D82A}">
                    <a16:rowId xmlns:a16="http://schemas.microsoft.com/office/drawing/2014/main" val="2493528536"/>
                  </a:ext>
                </a:extLst>
              </a:tr>
            </a:tbl>
          </a:graphicData>
        </a:graphic>
      </p:graphicFrame>
      <p:sp>
        <p:nvSpPr>
          <p:cNvPr id="4" name="Title 1">
            <a:extLst>
              <a:ext uri="{FF2B5EF4-FFF2-40B4-BE49-F238E27FC236}">
                <a16:creationId xmlns:a16="http://schemas.microsoft.com/office/drawing/2014/main" id="{B7E46E9D-0B06-B9F9-066C-32C5F1D0B7BE}"/>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We split our tasks into pairs, however we sync always on our most critical tasks to work together</a:t>
            </a:r>
          </a:p>
        </p:txBody>
      </p:sp>
      <p:cxnSp>
        <p:nvCxnSpPr>
          <p:cNvPr id="5" name="Elbow Connector 37">
            <a:extLst>
              <a:ext uri="{FF2B5EF4-FFF2-40B4-BE49-F238E27FC236}">
                <a16:creationId xmlns:a16="http://schemas.microsoft.com/office/drawing/2014/main" id="{D4B8AF53-04E6-60F8-B245-2380716E7E6F}"/>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a:extLst>
            <a:ext uri="{FF2B5EF4-FFF2-40B4-BE49-F238E27FC236}">
              <a16:creationId xmlns:a16="http://schemas.microsoft.com/office/drawing/2014/main" id="{4D8AF254-DEAA-150C-7CCC-DE9308539A6F}"/>
            </a:ext>
          </a:extLst>
        </p:cNvPr>
        <p:cNvGrpSpPr/>
        <p:nvPr/>
      </p:nvGrpSpPr>
      <p:grpSpPr>
        <a:xfrm>
          <a:off x="0" y="0"/>
          <a:ext cx="0" cy="0"/>
          <a:chOff x="0" y="0"/>
          <a:chExt cx="0" cy="0"/>
        </a:xfrm>
      </p:grpSpPr>
      <p:sp>
        <p:nvSpPr>
          <p:cNvPr id="11" name="Google Shape;186;p4">
            <a:extLst>
              <a:ext uri="{FF2B5EF4-FFF2-40B4-BE49-F238E27FC236}">
                <a16:creationId xmlns:a16="http://schemas.microsoft.com/office/drawing/2014/main" id="{F7310160-762B-6C66-A3B2-427731280507}"/>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EDCB9470-422E-5B51-EE14-4F3189F96A45}"/>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72A2CAF8-756E-098D-D7EE-11F7C7CE6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0DF54C39-99D5-1EDB-0FA4-061B38A6EE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86;p4">
            <a:extLst>
              <a:ext uri="{FF2B5EF4-FFF2-40B4-BE49-F238E27FC236}">
                <a16:creationId xmlns:a16="http://schemas.microsoft.com/office/drawing/2014/main" id="{3AA6269B-315B-56A8-AAEB-A76945D706FD}"/>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Q&amp;A</a:t>
            </a:r>
          </a:p>
        </p:txBody>
      </p:sp>
    </p:spTree>
    <p:extLst>
      <p:ext uri="{BB962C8B-B14F-4D97-AF65-F5344CB8AC3E}">
        <p14:creationId xmlns:p14="http://schemas.microsoft.com/office/powerpoint/2010/main" val="989152010"/>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08DCEEC-FFAC-1DAE-AE9A-D54B0A2E8507}"/>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6E245A9F-7907-8C85-B732-95E8B4027AD2}"/>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431C7757-3F8E-7943-6110-8CF0713C9673}"/>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B6E8AABD-0312-C8FB-5A7B-5FC2C75A1D4D}"/>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1BA814F2-762E-3ECE-A66B-C98023FCC2D6}"/>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E72DD2BF-8175-B521-8215-AFE836595D45}"/>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44165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0283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76402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3. Methodology &amp; Plan</a:t>
            </a:r>
          </a:p>
        </p:txBody>
      </p:sp>
      <p:sp>
        <p:nvSpPr>
          <p:cNvPr id="5" name="Oval 4">
            <a:extLst>
              <a:ext uri="{FF2B5EF4-FFF2-40B4-BE49-F238E27FC236}">
                <a16:creationId xmlns:a16="http://schemas.microsoft.com/office/drawing/2014/main" id="{1E76C119-2A79-55D9-4B83-937760777CD9}"/>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6" name="Group 5">
            <a:extLst>
              <a:ext uri="{FF2B5EF4-FFF2-40B4-BE49-F238E27FC236}">
                <a16:creationId xmlns:a16="http://schemas.microsoft.com/office/drawing/2014/main" id="{C590EB3C-DAE1-B3FB-FC99-3ABC8F5FFA4E}"/>
              </a:ext>
            </a:extLst>
          </p:cNvPr>
          <p:cNvGrpSpPr/>
          <p:nvPr/>
        </p:nvGrpSpPr>
        <p:grpSpPr>
          <a:xfrm>
            <a:off x="20601930" y="6345095"/>
            <a:ext cx="1505999" cy="772018"/>
            <a:chOff x="20653051" y="6372244"/>
            <a:chExt cx="1505999" cy="772018"/>
          </a:xfrm>
        </p:grpSpPr>
        <p:pic>
          <p:nvPicPr>
            <p:cNvPr id="8" name="Picture 2" descr="Download London School of Economics and ...">
              <a:extLst>
                <a:ext uri="{FF2B5EF4-FFF2-40B4-BE49-F238E27FC236}">
                  <a16:creationId xmlns:a16="http://schemas.microsoft.com/office/drawing/2014/main" id="{AB04C7A0-9FE1-472F-5C27-AD8E364285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Meta logo in vector (.EPS + ...">
              <a:extLst>
                <a:ext uri="{FF2B5EF4-FFF2-40B4-BE49-F238E27FC236}">
                  <a16:creationId xmlns:a16="http://schemas.microsoft.com/office/drawing/2014/main" id="{472E7006-5D55-5CE1-035F-B90ED051EE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85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843852"/>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solidFill>
                  <a:schemeClr val="accent6"/>
                </a:solidFill>
              </a:rPr>
              <a:t>2. </a:t>
            </a:r>
            <a:r>
              <a:rPr lang="en-US" sz="3200" dirty="0" err="1">
                <a:solidFill>
                  <a:schemeClr val="accent6"/>
                </a:solidFill>
              </a:rPr>
              <a:t>Project Context</a:t>
            </a:r>
            <a:endParaRPr lang="en-US" sz="3200" dirty="0">
              <a:solidFill>
                <a:schemeClr val="accent6"/>
              </a:solidFill>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455453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Project Title</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584261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LSE Supervisor &amp; Industry Partner Name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519857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Candidate Numbers</a:t>
            </a:r>
          </a:p>
        </p:txBody>
      </p:sp>
      <p:sp>
        <p:nvSpPr>
          <p:cNvPr id="10" name="Oval 9">
            <a:extLst>
              <a:ext uri="{FF2B5EF4-FFF2-40B4-BE49-F238E27FC236}">
                <a16:creationId xmlns:a16="http://schemas.microsoft.com/office/drawing/2014/main" id="{F3147FCB-7BCB-7894-FA8F-6AF31F8BC78B}"/>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E03E164E-53D4-5752-0738-3D52FAA87AA6}"/>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4E2D60BA-935E-DE85-1407-532AB6AA8FF2}"/>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FFD49FB1-C140-93FA-1ACB-6500FD7A7CA0}"/>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1" name="Oval 20">
            <a:extLst>
              <a:ext uri="{FF2B5EF4-FFF2-40B4-BE49-F238E27FC236}">
                <a16:creationId xmlns:a16="http://schemas.microsoft.com/office/drawing/2014/main" id="{5122A09F-A13F-24AC-83D5-4301373EA8CF}"/>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2" name="Oval 21">
            <a:extLst>
              <a:ext uri="{FF2B5EF4-FFF2-40B4-BE49-F238E27FC236}">
                <a16:creationId xmlns:a16="http://schemas.microsoft.com/office/drawing/2014/main" id="{F4C153D0-BB44-47EC-0DD7-FB50B3C95336}"/>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4" name="Oval 23">
            <a:extLst>
              <a:ext uri="{FF2B5EF4-FFF2-40B4-BE49-F238E27FC236}">
                <a16:creationId xmlns:a16="http://schemas.microsoft.com/office/drawing/2014/main" id="{7788D44F-4709-49C5-79CF-ED3792197931}"/>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3" name="Group 2">
            <a:extLst>
              <a:ext uri="{FF2B5EF4-FFF2-40B4-BE49-F238E27FC236}">
                <a16:creationId xmlns:a16="http://schemas.microsoft.com/office/drawing/2014/main" id="{DA0332F7-E32E-E5DB-3260-1FBBB939249D}"/>
              </a:ext>
            </a:extLst>
          </p:cNvPr>
          <p:cNvGrpSpPr/>
          <p:nvPr/>
        </p:nvGrpSpPr>
        <p:grpSpPr>
          <a:xfrm>
            <a:off x="20601930" y="6345095"/>
            <a:ext cx="1505999" cy="772018"/>
            <a:chOff x="20653051" y="6372244"/>
            <a:chExt cx="1505999" cy="772018"/>
          </a:xfrm>
        </p:grpSpPr>
        <p:pic>
          <p:nvPicPr>
            <p:cNvPr id="2050" name="Picture 2" descr="Download London School of Economics and ...">
              <a:extLst>
                <a:ext uri="{FF2B5EF4-FFF2-40B4-BE49-F238E27FC236}">
                  <a16:creationId xmlns:a16="http://schemas.microsoft.com/office/drawing/2014/main" id="{92117D85-3EBF-0C3C-147C-2A31816C9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ownload Meta logo in vector (.EPS + ...">
              <a:extLst>
                <a:ext uri="{FF2B5EF4-FFF2-40B4-BE49-F238E27FC236}">
                  <a16:creationId xmlns:a16="http://schemas.microsoft.com/office/drawing/2014/main" id="{96C0B0C8-25A6-B3A3-F513-BBDBCC2DB2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0344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E5193C5C-7378-0CA2-84C6-2675EAAC54BD}"/>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sp>
        <p:nvSpPr>
          <p:cNvPr id="3" name="Title 1">
            <a:extLst>
              <a:ext uri="{FF2B5EF4-FFF2-40B4-BE49-F238E27FC236}">
                <a16:creationId xmlns:a16="http://schemas.microsoft.com/office/drawing/2014/main" id="{B85374D6-C2BC-A4D2-F657-BA0C1BBBB318}"/>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The project addresses the creation of a foundation model for modelling the world’s oceans</a:t>
            </a:r>
          </a:p>
        </p:txBody>
      </p:sp>
      <p:sp>
        <p:nvSpPr>
          <p:cNvPr id="7" name="Title 1">
            <a:extLst>
              <a:ext uri="{FF2B5EF4-FFF2-40B4-BE49-F238E27FC236}">
                <a16:creationId xmlns:a16="http://schemas.microsoft.com/office/drawing/2014/main" id="{0E48E3A8-1CE5-49F5-B0B2-E056A34A36E2}"/>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Project Title</a:t>
            </a:r>
          </a:p>
        </p:txBody>
      </p:sp>
      <p:cxnSp>
        <p:nvCxnSpPr>
          <p:cNvPr id="10" name="Elbow Connector 37">
            <a:extLst>
              <a:ext uri="{FF2B5EF4-FFF2-40B4-BE49-F238E27FC236}">
                <a16:creationId xmlns:a16="http://schemas.microsoft.com/office/drawing/2014/main" id="{D42EE9A7-D590-9047-9813-DE4522262F17}"/>
              </a:ext>
            </a:extLst>
          </p:cNvPr>
          <p:cNvCxnSpPr>
            <a:cxnSpLocks/>
          </p:cNvCxnSpPr>
          <p:nvPr/>
        </p:nvCxnSpPr>
        <p:spPr>
          <a:xfrm>
            <a:off x="841637" y="3330402"/>
            <a:ext cx="10895031"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AFDF6A77-1592-93D3-CE57-C3CD05ADE4A0}"/>
              </a:ext>
            </a:extLst>
          </p:cNvPr>
          <p:cNvSpPr txBox="1">
            <a:spLocks/>
          </p:cNvSpPr>
          <p:nvPr/>
        </p:nvSpPr>
        <p:spPr>
          <a:xfrm>
            <a:off x="12650508" y="259538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Research Team &amp; Supervisors</a:t>
            </a:r>
          </a:p>
        </p:txBody>
      </p:sp>
      <p:cxnSp>
        <p:nvCxnSpPr>
          <p:cNvPr id="13" name="Elbow Connector 37">
            <a:extLst>
              <a:ext uri="{FF2B5EF4-FFF2-40B4-BE49-F238E27FC236}">
                <a16:creationId xmlns:a16="http://schemas.microsoft.com/office/drawing/2014/main" id="{7E88CA79-4346-1803-91B3-E59D3DC0347D}"/>
              </a:ext>
            </a:extLst>
          </p:cNvPr>
          <p:cNvCxnSpPr>
            <a:cxnSpLocks/>
          </p:cNvCxnSpPr>
          <p:nvPr/>
        </p:nvCxnSpPr>
        <p:spPr>
          <a:xfrm>
            <a:off x="12781347" y="3330402"/>
            <a:ext cx="1078985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2" name="Google Shape;3948;ge3632631ac_0_100">
            <a:extLst>
              <a:ext uri="{FF2B5EF4-FFF2-40B4-BE49-F238E27FC236}">
                <a16:creationId xmlns:a16="http://schemas.microsoft.com/office/drawing/2014/main" id="{97EAE5B0-50DA-6692-F8B9-7913C88CC918}"/>
              </a:ext>
            </a:extLst>
          </p:cNvPr>
          <p:cNvSpPr txBox="1">
            <a:spLocks/>
          </p:cNvSpPr>
          <p:nvPr/>
        </p:nvSpPr>
        <p:spPr>
          <a:xfrm>
            <a:off x="848176" y="3690442"/>
            <a:ext cx="10841355" cy="646331"/>
          </a:xfrm>
          <a:prstGeom prst="rect">
            <a:avLst/>
          </a:prstGeom>
          <a:noFill/>
          <a:ln>
            <a:noFill/>
          </a:ln>
        </p:spPr>
        <p:txBody>
          <a:bodyPr spcFirstLastPara="1" wrap="square" lIns="0" tIns="0" rIns="0" bIns="0" anchor="t" anchorCtr="0">
            <a:spAutoFit/>
          </a:bodyPr>
          <a:lstStyle/>
          <a:p>
            <a:pPr marL="0" lvl="0" indent="0" algn="ctr" rtl="0">
              <a:lnSpc>
                <a:spcPct val="150000"/>
              </a:lnSpc>
              <a:spcAft>
                <a:spcPts val="0"/>
              </a:spcAft>
              <a:buNone/>
            </a:pPr>
            <a:r>
              <a:rPr lang="de-DE" sz="2800" b="1" u="none" strike="noStrike">
                <a:solidFill>
                  <a:srgbClr val="0081FB"/>
                </a:solidFill>
                <a:effectLst/>
                <a:latin typeface="Montserrat" pitchFamily="2" charset="77"/>
              </a:rPr>
              <a:t>„Foundation model for modelling the world‘s oceans“</a:t>
            </a:r>
            <a:endParaRPr lang="de-DE" sz="2800" b="1">
              <a:solidFill>
                <a:srgbClr val="0081FB"/>
              </a:solidFill>
              <a:effectLst/>
              <a:latin typeface="Montserrat" pitchFamily="2" charset="77"/>
            </a:endParaRPr>
          </a:p>
        </p:txBody>
      </p:sp>
      <p:sp>
        <p:nvSpPr>
          <p:cNvPr id="9" name="Google Shape;3948;ge3632631ac_0_100">
            <a:extLst>
              <a:ext uri="{FF2B5EF4-FFF2-40B4-BE49-F238E27FC236}">
                <a16:creationId xmlns:a16="http://schemas.microsoft.com/office/drawing/2014/main" id="{51114762-2B73-5E82-49D7-04E821267D9C}"/>
              </a:ext>
            </a:extLst>
          </p:cNvPr>
          <p:cNvSpPr txBox="1">
            <a:spLocks/>
          </p:cNvSpPr>
          <p:nvPr/>
        </p:nvSpPr>
        <p:spPr>
          <a:xfrm>
            <a:off x="868474" y="7616096"/>
            <a:ext cx="10841355" cy="4985980"/>
          </a:xfrm>
          <a:prstGeom prst="rect">
            <a:avLst/>
          </a:prstGeom>
          <a:noFill/>
          <a:ln>
            <a:noFill/>
          </a:ln>
        </p:spPr>
        <p:txBody>
          <a:bodyPr spcFirstLastPara="1" wrap="square" lIns="0" tIns="0" rIns="0" bIns="0" anchor="t" anchorCtr="0">
            <a:spAutoFit/>
          </a:bodyPr>
          <a:lstStyle/>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Thousands TB of open-source data collected from satellites and weather monitoring stations </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ESA alone third largest data provider in the world generating 20 TB/day</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20x more data than used to train modern AI lsystems ike ChatGPT</a:t>
            </a:r>
          </a:p>
          <a:p>
            <a:pPr marL="342900" lvl="0" indent="-342900" rtl="0">
              <a:lnSpc>
                <a:spcPct val="150000"/>
              </a:lnSpc>
              <a:spcAft>
                <a:spcPts val="0"/>
              </a:spcAft>
              <a:buFont typeface="Arial" panose="020B0604020202020204" pitchFamily="34" charset="0"/>
              <a:buChar char="•"/>
            </a:pPr>
            <a:r>
              <a:rPr lang="de-DE" sz="2400" b="1" u="none" strike="noStrike">
                <a:solidFill>
                  <a:srgbClr val="000000"/>
                </a:solidFill>
                <a:effectLst/>
                <a:latin typeface="Montserrat" pitchFamily="2" charset="77"/>
              </a:rPr>
              <a:t>Extracting useful insights requires application advancements in AI and BigData</a:t>
            </a:r>
          </a:p>
          <a:p>
            <a:pPr marL="342900" lvl="0" indent="-342900" rtl="0">
              <a:lnSpc>
                <a:spcPct val="150000"/>
              </a:lnSpc>
              <a:spcAft>
                <a:spcPts val="0"/>
              </a:spcAft>
              <a:buFont typeface="Arial" panose="020B0604020202020204" pitchFamily="34" charset="0"/>
              <a:buChar char="•"/>
            </a:pPr>
            <a:r>
              <a:rPr lang="de-DE" sz="2400" b="1">
                <a:solidFill>
                  <a:srgbClr val="000000"/>
                </a:solidFill>
                <a:latin typeface="Montserrat" pitchFamily="2" charset="77"/>
              </a:rPr>
              <a:t>Focus on </a:t>
            </a:r>
            <a:r>
              <a:rPr lang="de-DE" sz="2400" b="1" u="none" strike="noStrike">
                <a:solidFill>
                  <a:srgbClr val="000000"/>
                </a:solidFill>
                <a:effectLst/>
                <a:latin typeface="Montserrat" pitchFamily="2" charset="77"/>
              </a:rPr>
              <a:t>development of new algorithms beyond the state-of-the-art</a:t>
            </a:r>
          </a:p>
        </p:txBody>
      </p:sp>
      <p:pic>
        <p:nvPicPr>
          <p:cNvPr id="9218" name="Picture 2" descr="Coupled Atmosphere-Ocean Simulations">
            <a:extLst>
              <a:ext uri="{FF2B5EF4-FFF2-40B4-BE49-F238E27FC236}">
                <a16:creationId xmlns:a16="http://schemas.microsoft.com/office/drawing/2014/main" id="{51B766BF-7C4D-59B7-38B8-E5F060380C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3647" y="4626546"/>
            <a:ext cx="3760435" cy="268812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5A448C59-6555-5090-443F-F0D4FE3805BA}"/>
              </a:ext>
            </a:extLst>
          </p:cNvPr>
          <p:cNvPicPr>
            <a:picLocks noChangeAspect="1"/>
          </p:cNvPicPr>
          <p:nvPr/>
        </p:nvPicPr>
        <p:blipFill>
          <a:blip r:embed="rId4"/>
          <a:stretch>
            <a:fillRect/>
          </a:stretch>
        </p:blipFill>
        <p:spPr>
          <a:xfrm>
            <a:off x="7369051" y="4665883"/>
            <a:ext cx="2738489" cy="2609450"/>
          </a:xfrm>
          <a:prstGeom prst="rect">
            <a:avLst/>
          </a:prstGeom>
        </p:spPr>
      </p:pic>
      <p:pic>
        <p:nvPicPr>
          <p:cNvPr id="26" name="Picture 25">
            <a:extLst>
              <a:ext uri="{FF2B5EF4-FFF2-40B4-BE49-F238E27FC236}">
                <a16:creationId xmlns:a16="http://schemas.microsoft.com/office/drawing/2014/main" id="{FB26F025-702E-A05F-72D8-AC9161A3CDE9}"/>
              </a:ext>
            </a:extLst>
          </p:cNvPr>
          <p:cNvPicPr>
            <a:picLocks noChangeAspect="1"/>
          </p:cNvPicPr>
          <p:nvPr/>
        </p:nvPicPr>
        <p:blipFill>
          <a:blip r:embed="rId5">
            <a:extLst>
              <a:ext uri="{28A0092B-C50C-407E-A947-70E740481C1C}">
                <a14:useLocalDpi xmlns:a14="http://schemas.microsoft.com/office/drawing/2010/main" val="0"/>
              </a:ext>
            </a:extLst>
          </a:blip>
          <a:srcRect l="12382" r="12382"/>
          <a:stretch/>
        </p:blipFill>
        <p:spPr>
          <a:xfrm>
            <a:off x="13125763" y="3804439"/>
            <a:ext cx="1389888" cy="1847394"/>
          </a:xfrm>
          <a:prstGeom prst="roundRect">
            <a:avLst/>
          </a:prstGeom>
        </p:spPr>
      </p:pic>
      <p:pic>
        <p:nvPicPr>
          <p:cNvPr id="33" name="Picture 32">
            <a:extLst>
              <a:ext uri="{FF2B5EF4-FFF2-40B4-BE49-F238E27FC236}">
                <a16:creationId xmlns:a16="http://schemas.microsoft.com/office/drawing/2014/main" id="{A0E4FE87-EC26-1C24-36B2-1CF33EFF7AF7}"/>
              </a:ext>
            </a:extLst>
          </p:cNvPr>
          <p:cNvPicPr>
            <a:picLocks noChangeAspect="1"/>
          </p:cNvPicPr>
          <p:nvPr/>
        </p:nvPicPr>
        <p:blipFill>
          <a:blip r:embed="rId6">
            <a:extLst>
              <a:ext uri="{28A0092B-C50C-407E-A947-70E740481C1C}">
                <a14:useLocalDpi xmlns:a14="http://schemas.microsoft.com/office/drawing/2010/main" val="0"/>
              </a:ext>
            </a:extLst>
          </a:blip>
          <a:srcRect l="2602" r="2602"/>
          <a:stretch/>
        </p:blipFill>
        <p:spPr>
          <a:xfrm>
            <a:off x="13125763" y="8266388"/>
            <a:ext cx="1389888" cy="1847394"/>
          </a:xfrm>
          <a:prstGeom prst="roundRect">
            <a:avLst/>
          </a:prstGeom>
        </p:spPr>
      </p:pic>
      <p:sp>
        <p:nvSpPr>
          <p:cNvPr id="55" name="TextBox 54">
            <a:extLst>
              <a:ext uri="{FF2B5EF4-FFF2-40B4-BE49-F238E27FC236}">
                <a16:creationId xmlns:a16="http://schemas.microsoft.com/office/drawing/2014/main" id="{6879C4A4-EA4C-C015-A66F-6E1EE42006F8}"/>
              </a:ext>
            </a:extLst>
          </p:cNvPr>
          <p:cNvSpPr txBox="1"/>
          <p:nvPr/>
        </p:nvSpPr>
        <p:spPr>
          <a:xfrm>
            <a:off x="12351483"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Imar Colic</a:t>
            </a:r>
          </a:p>
        </p:txBody>
      </p:sp>
      <p:sp>
        <p:nvSpPr>
          <p:cNvPr id="56" name="Rounded Rectangle 55">
            <a:extLst>
              <a:ext uri="{FF2B5EF4-FFF2-40B4-BE49-F238E27FC236}">
                <a16:creationId xmlns:a16="http://schemas.microsoft.com/office/drawing/2014/main" id="{D80F50DE-1769-5F52-65B9-436CCF2661D1}"/>
              </a:ext>
            </a:extLst>
          </p:cNvPr>
          <p:cNvSpPr/>
          <p:nvPr/>
        </p:nvSpPr>
        <p:spPr>
          <a:xfrm>
            <a:off x="12650707"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7" name="TextBox 56">
            <a:extLst>
              <a:ext uri="{FF2B5EF4-FFF2-40B4-BE49-F238E27FC236}">
                <a16:creationId xmlns:a16="http://schemas.microsoft.com/office/drawing/2014/main" id="{1DAF7A91-D913-2230-C1E0-A07C31919E33}"/>
              </a:ext>
            </a:extLst>
          </p:cNvPr>
          <p:cNvSpPr txBox="1"/>
          <p:nvPr/>
        </p:nvSpPr>
        <p:spPr>
          <a:xfrm>
            <a:off x="12539267" y="10267814"/>
            <a:ext cx="2562882"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of. Piotr Fryzlewicz</a:t>
            </a:r>
          </a:p>
        </p:txBody>
      </p:sp>
      <p:sp>
        <p:nvSpPr>
          <p:cNvPr id="58" name="Rounded Rectangle 57">
            <a:extLst>
              <a:ext uri="{FF2B5EF4-FFF2-40B4-BE49-F238E27FC236}">
                <a16:creationId xmlns:a16="http://schemas.microsoft.com/office/drawing/2014/main" id="{407EBE02-842D-2784-B9B2-32AB8D30FC12}"/>
              </a:ext>
            </a:extLst>
          </p:cNvPr>
          <p:cNvSpPr/>
          <p:nvPr/>
        </p:nvSpPr>
        <p:spPr>
          <a:xfrm>
            <a:off x="12650707"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Professor &amp; Supervisor</a:t>
            </a:r>
          </a:p>
        </p:txBody>
      </p:sp>
      <p:pic>
        <p:nvPicPr>
          <p:cNvPr id="27" name="Picture 26">
            <a:extLst>
              <a:ext uri="{FF2B5EF4-FFF2-40B4-BE49-F238E27FC236}">
                <a16:creationId xmlns:a16="http://schemas.microsoft.com/office/drawing/2014/main" id="{3C4FEC04-8C6C-B010-0E22-1E552BDBECC8}"/>
              </a:ext>
            </a:extLst>
          </p:cNvPr>
          <p:cNvPicPr>
            <a:picLocks noChangeAspect="1"/>
          </p:cNvPicPr>
          <p:nvPr/>
        </p:nvPicPr>
        <p:blipFill>
          <a:blip r:embed="rId7">
            <a:extLst>
              <a:ext uri="{28A0092B-C50C-407E-A947-70E740481C1C}">
                <a14:useLocalDpi xmlns:a14="http://schemas.microsoft.com/office/drawing/2010/main" val="0"/>
              </a:ext>
            </a:extLst>
          </a:blip>
          <a:srcRect l="12181" r="12181"/>
          <a:stretch/>
        </p:blipFill>
        <p:spPr>
          <a:xfrm>
            <a:off x="15953451" y="3804439"/>
            <a:ext cx="1389888" cy="1847394"/>
          </a:xfrm>
          <a:prstGeom prst="roundRect">
            <a:avLst/>
          </a:prstGeom>
        </p:spPr>
      </p:pic>
      <p:pic>
        <p:nvPicPr>
          <p:cNvPr id="34" name="Picture 33">
            <a:extLst>
              <a:ext uri="{FF2B5EF4-FFF2-40B4-BE49-F238E27FC236}">
                <a16:creationId xmlns:a16="http://schemas.microsoft.com/office/drawing/2014/main" id="{D324B82C-9FB9-D660-4691-F8424C804FD7}"/>
              </a:ext>
            </a:extLst>
          </p:cNvPr>
          <p:cNvPicPr>
            <a:picLocks noChangeAspect="1"/>
          </p:cNvPicPr>
          <p:nvPr/>
        </p:nvPicPr>
        <p:blipFill>
          <a:blip r:embed="rId8">
            <a:extLst>
              <a:ext uri="{28A0092B-C50C-407E-A947-70E740481C1C}">
                <a14:useLocalDpi xmlns:a14="http://schemas.microsoft.com/office/drawing/2010/main" val="0"/>
              </a:ext>
            </a:extLst>
          </a:blip>
          <a:srcRect l="12382" r="12382"/>
          <a:stretch/>
        </p:blipFill>
        <p:spPr>
          <a:xfrm>
            <a:off x="15953451" y="8266388"/>
            <a:ext cx="1389888" cy="1847394"/>
          </a:xfrm>
          <a:prstGeom prst="roundRect">
            <a:avLst/>
          </a:prstGeom>
        </p:spPr>
      </p:pic>
      <p:sp>
        <p:nvSpPr>
          <p:cNvPr id="39" name="Rounded Rectangle 38">
            <a:extLst>
              <a:ext uri="{FF2B5EF4-FFF2-40B4-BE49-F238E27FC236}">
                <a16:creationId xmlns:a16="http://schemas.microsoft.com/office/drawing/2014/main" id="{D555210F-170B-1A5B-1AEF-1828C4F0E425}"/>
              </a:ext>
            </a:extLst>
          </p:cNvPr>
          <p:cNvSpPr/>
          <p:nvPr/>
        </p:nvSpPr>
        <p:spPr>
          <a:xfrm>
            <a:off x="15478395"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6" name="TextBox 45">
            <a:extLst>
              <a:ext uri="{FF2B5EF4-FFF2-40B4-BE49-F238E27FC236}">
                <a16:creationId xmlns:a16="http://schemas.microsoft.com/office/drawing/2014/main" id="{E277DCD4-2356-C670-0A24-9804796F77C1}"/>
              </a:ext>
            </a:extLst>
          </p:cNvPr>
          <p:cNvSpPr txBox="1"/>
          <p:nvPr/>
        </p:nvSpPr>
        <p:spPr>
          <a:xfrm>
            <a:off x="15289932" y="10267814"/>
            <a:ext cx="271692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Dr. Dima Karamshuk</a:t>
            </a:r>
          </a:p>
        </p:txBody>
      </p:sp>
      <p:sp>
        <p:nvSpPr>
          <p:cNvPr id="47" name="Rounded Rectangle 46">
            <a:extLst>
              <a:ext uri="{FF2B5EF4-FFF2-40B4-BE49-F238E27FC236}">
                <a16:creationId xmlns:a16="http://schemas.microsoft.com/office/drawing/2014/main" id="{7726880F-DAD4-CA51-C7E4-05B8137C58C5}"/>
              </a:ext>
            </a:extLst>
          </p:cNvPr>
          <p:cNvSpPr/>
          <p:nvPr/>
        </p:nvSpPr>
        <p:spPr>
          <a:xfrm>
            <a:off x="15478395"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Data Scientist &amp; Industry Partner</a:t>
            </a:r>
          </a:p>
        </p:txBody>
      </p:sp>
      <p:sp>
        <p:nvSpPr>
          <p:cNvPr id="52" name="TextBox 51">
            <a:extLst>
              <a:ext uri="{FF2B5EF4-FFF2-40B4-BE49-F238E27FC236}">
                <a16:creationId xmlns:a16="http://schemas.microsoft.com/office/drawing/2014/main" id="{4FEDA4AC-E33C-28D0-375E-97DB081DDCF5}"/>
              </a:ext>
            </a:extLst>
          </p:cNvPr>
          <p:cNvSpPr txBox="1"/>
          <p:nvPr/>
        </p:nvSpPr>
        <p:spPr>
          <a:xfrm>
            <a:off x="15179171"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Bhavika Adapa</a:t>
            </a:r>
          </a:p>
        </p:txBody>
      </p:sp>
      <p:pic>
        <p:nvPicPr>
          <p:cNvPr id="28" name="Picture 27">
            <a:extLst>
              <a:ext uri="{FF2B5EF4-FFF2-40B4-BE49-F238E27FC236}">
                <a16:creationId xmlns:a16="http://schemas.microsoft.com/office/drawing/2014/main" id="{85B89C8F-AB67-71C8-B8A9-7C9AA1467AC4}"/>
              </a:ext>
            </a:extLst>
          </p:cNvPr>
          <p:cNvPicPr>
            <a:picLocks noChangeAspect="1"/>
          </p:cNvPicPr>
          <p:nvPr/>
        </p:nvPicPr>
        <p:blipFill>
          <a:blip r:embed="rId9">
            <a:extLst>
              <a:ext uri="{28A0092B-C50C-407E-A947-70E740481C1C}">
                <a14:useLocalDpi xmlns:a14="http://schemas.microsoft.com/office/drawing/2010/main" val="0"/>
              </a:ext>
            </a:extLst>
          </a:blip>
          <a:srcRect l="225" t="1584" r="24539" b="-1584"/>
          <a:stretch/>
        </p:blipFill>
        <p:spPr>
          <a:xfrm>
            <a:off x="18781139" y="3804439"/>
            <a:ext cx="1389888" cy="1847394"/>
          </a:xfrm>
          <a:prstGeom prst="roundRect">
            <a:avLst/>
          </a:prstGeom>
        </p:spPr>
      </p:pic>
      <p:pic>
        <p:nvPicPr>
          <p:cNvPr id="35" name="Picture 34">
            <a:extLst>
              <a:ext uri="{FF2B5EF4-FFF2-40B4-BE49-F238E27FC236}">
                <a16:creationId xmlns:a16="http://schemas.microsoft.com/office/drawing/2014/main" id="{28FF9433-E7C7-FB0E-9AFC-6DE1C1D470EA}"/>
              </a:ext>
            </a:extLst>
          </p:cNvPr>
          <p:cNvPicPr>
            <a:picLocks noChangeAspect="1"/>
          </p:cNvPicPr>
          <p:nvPr/>
        </p:nvPicPr>
        <p:blipFill>
          <a:blip r:embed="rId10">
            <a:extLst>
              <a:ext uri="{28A0092B-C50C-407E-A947-70E740481C1C}">
                <a14:useLocalDpi xmlns:a14="http://schemas.microsoft.com/office/drawing/2010/main" val="0"/>
              </a:ext>
            </a:extLst>
          </a:blip>
          <a:srcRect l="12382" r="12382"/>
          <a:stretch/>
        </p:blipFill>
        <p:spPr>
          <a:xfrm>
            <a:off x="18781139" y="8266388"/>
            <a:ext cx="1389888" cy="1847394"/>
          </a:xfrm>
          <a:prstGeom prst="roundRect">
            <a:avLst/>
          </a:prstGeom>
        </p:spPr>
      </p:pic>
      <p:sp>
        <p:nvSpPr>
          <p:cNvPr id="41" name="Rounded Rectangle 40">
            <a:extLst>
              <a:ext uri="{FF2B5EF4-FFF2-40B4-BE49-F238E27FC236}">
                <a16:creationId xmlns:a16="http://schemas.microsoft.com/office/drawing/2014/main" id="{9ED8CEBE-EE13-1491-2B82-AA084A510202}"/>
              </a:ext>
            </a:extLst>
          </p:cNvPr>
          <p:cNvSpPr/>
          <p:nvPr/>
        </p:nvSpPr>
        <p:spPr>
          <a:xfrm>
            <a:off x="18306083"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8" name="TextBox 47">
            <a:extLst>
              <a:ext uri="{FF2B5EF4-FFF2-40B4-BE49-F238E27FC236}">
                <a16:creationId xmlns:a16="http://schemas.microsoft.com/office/drawing/2014/main" id="{8D95D045-3229-6429-343B-4886C31D4BE2}"/>
              </a:ext>
            </a:extLst>
          </p:cNvPr>
          <p:cNvSpPr txBox="1"/>
          <p:nvPr/>
        </p:nvSpPr>
        <p:spPr>
          <a:xfrm>
            <a:off x="18344555" y="10267814"/>
            <a:ext cx="2263057" cy="338554"/>
          </a:xfrm>
          <a:prstGeom prst="rect">
            <a:avLst/>
          </a:prstGeom>
          <a:noFill/>
        </p:spPr>
        <p:txBody>
          <a:bodyPr wrap="square" rtlCol="0">
            <a:spAutoFit/>
          </a:bodyPr>
          <a:lstStyle/>
          <a:p>
            <a:pPr algn="ctr"/>
            <a:r>
              <a:rPr lang="en-US" sz="1600" b="1" dirty="0">
                <a:latin typeface="Montserrat-bold" panose="00000800000000000000" pitchFamily="50" charset="0"/>
                <a:ea typeface="ＭＳ Ｐゴシック" charset="0"/>
                <a:cs typeface="Lato Light"/>
                <a:sym typeface="Source Sans Pro" charset="0"/>
              </a:rPr>
              <a:t>Dr. Marcos Barreto</a:t>
            </a:r>
          </a:p>
        </p:txBody>
      </p:sp>
      <p:sp>
        <p:nvSpPr>
          <p:cNvPr id="49" name="Rounded Rectangle 48">
            <a:extLst>
              <a:ext uri="{FF2B5EF4-FFF2-40B4-BE49-F238E27FC236}">
                <a16:creationId xmlns:a16="http://schemas.microsoft.com/office/drawing/2014/main" id="{D7CDF32A-F07F-1D95-5E78-CB038182E9B1}"/>
              </a:ext>
            </a:extLst>
          </p:cNvPr>
          <p:cNvSpPr/>
          <p:nvPr/>
        </p:nvSpPr>
        <p:spPr>
          <a:xfrm>
            <a:off x="18306083"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Capstone Coordinator &amp; Supervisor</a:t>
            </a:r>
          </a:p>
        </p:txBody>
      </p:sp>
      <p:sp>
        <p:nvSpPr>
          <p:cNvPr id="53" name="TextBox 52">
            <a:extLst>
              <a:ext uri="{FF2B5EF4-FFF2-40B4-BE49-F238E27FC236}">
                <a16:creationId xmlns:a16="http://schemas.microsoft.com/office/drawing/2014/main" id="{29E0FA2E-9809-279F-982B-D135A5EB9F36}"/>
              </a:ext>
            </a:extLst>
          </p:cNvPr>
          <p:cNvSpPr txBox="1"/>
          <p:nvPr/>
        </p:nvSpPr>
        <p:spPr>
          <a:xfrm>
            <a:off x="18006859"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apti Pradhan</a:t>
            </a:r>
          </a:p>
        </p:txBody>
      </p:sp>
      <p:pic>
        <p:nvPicPr>
          <p:cNvPr id="29" name="Picture 28">
            <a:extLst>
              <a:ext uri="{FF2B5EF4-FFF2-40B4-BE49-F238E27FC236}">
                <a16:creationId xmlns:a16="http://schemas.microsoft.com/office/drawing/2014/main" id="{6413223B-6770-4EEF-0FA1-2E6EC30EB431}"/>
              </a:ext>
            </a:extLst>
          </p:cNvPr>
          <p:cNvPicPr>
            <a:picLocks noChangeAspect="1"/>
          </p:cNvPicPr>
          <p:nvPr/>
        </p:nvPicPr>
        <p:blipFill>
          <a:blip r:embed="rId11">
            <a:extLst>
              <a:ext uri="{28A0092B-C50C-407E-A947-70E740481C1C}">
                <a14:useLocalDpi xmlns:a14="http://schemas.microsoft.com/office/drawing/2010/main" val="0"/>
              </a:ext>
            </a:extLst>
          </a:blip>
          <a:srcRect l="12382" r="12382"/>
          <a:stretch/>
        </p:blipFill>
        <p:spPr>
          <a:xfrm>
            <a:off x="21608827" y="3804439"/>
            <a:ext cx="1389888" cy="1847394"/>
          </a:xfrm>
          <a:prstGeom prst="roundRect">
            <a:avLst/>
          </a:prstGeom>
        </p:spPr>
      </p:pic>
      <p:sp>
        <p:nvSpPr>
          <p:cNvPr id="42" name="Rounded Rectangle 41">
            <a:extLst>
              <a:ext uri="{FF2B5EF4-FFF2-40B4-BE49-F238E27FC236}">
                <a16:creationId xmlns:a16="http://schemas.microsoft.com/office/drawing/2014/main" id="{160A30E9-291C-93F1-7FBE-61671B790D5C}"/>
              </a:ext>
            </a:extLst>
          </p:cNvPr>
          <p:cNvSpPr/>
          <p:nvPr/>
        </p:nvSpPr>
        <p:spPr>
          <a:xfrm>
            <a:off x="21133771"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4" name="TextBox 53">
            <a:extLst>
              <a:ext uri="{FF2B5EF4-FFF2-40B4-BE49-F238E27FC236}">
                <a16:creationId xmlns:a16="http://schemas.microsoft.com/office/drawing/2014/main" id="{39B9B9EF-521E-C3A6-C142-1B594C817D44}"/>
              </a:ext>
            </a:extLst>
          </p:cNvPr>
          <p:cNvSpPr txBox="1"/>
          <p:nvPr/>
        </p:nvSpPr>
        <p:spPr>
          <a:xfrm>
            <a:off x="20834547"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Shavya Tyagi</a:t>
            </a:r>
          </a:p>
        </p:txBody>
      </p:sp>
      <p:pic>
        <p:nvPicPr>
          <p:cNvPr id="9232" name="Picture 4" descr="Download Meta logo in vector (.EPS + ...">
            <a:extLst>
              <a:ext uri="{FF2B5EF4-FFF2-40B4-BE49-F238E27FC236}">
                <a16:creationId xmlns:a16="http://schemas.microsoft.com/office/drawing/2014/main" id="{4858CD11-105C-B7B0-D861-FDBD719D2B9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5209" t="39679" r="7160" b="37588"/>
          <a:stretch/>
        </p:blipFill>
        <p:spPr bwMode="auto">
          <a:xfrm>
            <a:off x="15941662" y="11534100"/>
            <a:ext cx="1413466" cy="366680"/>
          </a:xfrm>
          <a:prstGeom prst="rect">
            <a:avLst/>
          </a:prstGeom>
          <a:noFill/>
          <a:extLst>
            <a:ext uri="{909E8E84-426E-40DD-AFC4-6F175D3DCCD1}">
              <a14:hiddenFill xmlns:a14="http://schemas.microsoft.com/office/drawing/2010/main">
                <a:solidFill>
                  <a:srgbClr val="FFFFFF"/>
                </a:solidFill>
              </a14:hiddenFill>
            </a:ext>
          </a:extLst>
        </p:spPr>
      </p:pic>
      <p:pic>
        <p:nvPicPr>
          <p:cNvPr id="9237" name="Picture 6" descr="Download London School of Economics and Political Science ...">
            <a:extLst>
              <a:ext uri="{FF2B5EF4-FFF2-40B4-BE49-F238E27FC236}">
                <a16:creationId xmlns:a16="http://schemas.microsoft.com/office/drawing/2014/main" id="{CB374840-390B-8D42-7D0B-80AB694638E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8" name="Picture 6" descr="Download London School of Economics and Political Science ...">
            <a:extLst>
              <a:ext uri="{FF2B5EF4-FFF2-40B4-BE49-F238E27FC236}">
                <a16:creationId xmlns:a16="http://schemas.microsoft.com/office/drawing/2014/main" id="{012580A0-EF80-E2E6-CCF1-7B9058EB171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6048099"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9" name="Picture 6" descr="Download London School of Economics and Political Science ...">
            <a:extLst>
              <a:ext uri="{FF2B5EF4-FFF2-40B4-BE49-F238E27FC236}">
                <a16:creationId xmlns:a16="http://schemas.microsoft.com/office/drawing/2014/main" id="{7A3E20E7-2B49-FA53-4C36-F391F30766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0" name="Picture 6" descr="Download London School of Economics and Political Science ...">
            <a:extLst>
              <a:ext uri="{FF2B5EF4-FFF2-40B4-BE49-F238E27FC236}">
                <a16:creationId xmlns:a16="http://schemas.microsoft.com/office/drawing/2014/main" id="{FAF68FB9-F77E-D1EB-460A-93084DEC8CC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21703475"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1" name="Picture 6" descr="Download London School of Economics and Political Science ...">
            <a:extLst>
              <a:ext uri="{FF2B5EF4-FFF2-40B4-BE49-F238E27FC236}">
                <a16:creationId xmlns:a16="http://schemas.microsoft.com/office/drawing/2014/main" id="{B8108F2E-0455-EA62-94AD-B8B42CB9DE0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9246" name="TextBox 9245">
            <a:extLst>
              <a:ext uri="{FF2B5EF4-FFF2-40B4-BE49-F238E27FC236}">
                <a16:creationId xmlns:a16="http://schemas.microsoft.com/office/drawing/2014/main" id="{AA533286-B77B-7EE2-A6B5-75C7E61C52B3}"/>
              </a:ext>
            </a:extLst>
          </p:cNvPr>
          <p:cNvSpPr txBox="1"/>
          <p:nvPr/>
        </p:nvSpPr>
        <p:spPr>
          <a:xfrm>
            <a:off x="12351483"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0450</a:t>
            </a:r>
          </a:p>
        </p:txBody>
      </p:sp>
      <p:sp>
        <p:nvSpPr>
          <p:cNvPr id="9247" name="TextBox 9246">
            <a:extLst>
              <a:ext uri="{FF2B5EF4-FFF2-40B4-BE49-F238E27FC236}">
                <a16:creationId xmlns:a16="http://schemas.microsoft.com/office/drawing/2014/main" id="{66326469-D0BE-4788-2F20-F7F1D68C0732}"/>
              </a:ext>
            </a:extLst>
          </p:cNvPr>
          <p:cNvSpPr txBox="1"/>
          <p:nvPr/>
        </p:nvSpPr>
        <p:spPr>
          <a:xfrm>
            <a:off x="15179171"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0270</a:t>
            </a:r>
          </a:p>
        </p:txBody>
      </p:sp>
      <p:sp>
        <p:nvSpPr>
          <p:cNvPr id="9248" name="TextBox 9247">
            <a:extLst>
              <a:ext uri="{FF2B5EF4-FFF2-40B4-BE49-F238E27FC236}">
                <a16:creationId xmlns:a16="http://schemas.microsoft.com/office/drawing/2014/main" id="{A7AD8BE0-BAF1-198D-2229-AC6CA91DC748}"/>
              </a:ext>
            </a:extLst>
          </p:cNvPr>
          <p:cNvSpPr txBox="1"/>
          <p:nvPr/>
        </p:nvSpPr>
        <p:spPr>
          <a:xfrm>
            <a:off x="18006859"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1348</a:t>
            </a:r>
          </a:p>
        </p:txBody>
      </p:sp>
      <p:sp>
        <p:nvSpPr>
          <p:cNvPr id="9249" name="TextBox 9248">
            <a:extLst>
              <a:ext uri="{FF2B5EF4-FFF2-40B4-BE49-F238E27FC236}">
                <a16:creationId xmlns:a16="http://schemas.microsoft.com/office/drawing/2014/main" id="{6BE1C0F4-DAF1-12DC-A94F-DE21D59A5509}"/>
              </a:ext>
            </a:extLst>
          </p:cNvPr>
          <p:cNvSpPr txBox="1"/>
          <p:nvPr/>
        </p:nvSpPr>
        <p:spPr>
          <a:xfrm>
            <a:off x="20834547"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45278</a:t>
            </a:r>
          </a:p>
        </p:txBody>
      </p:sp>
      <p:pic>
        <p:nvPicPr>
          <p:cNvPr id="9251" name="Picture 6" descr="Download London School of Economics and Political Science ...">
            <a:extLst>
              <a:ext uri="{FF2B5EF4-FFF2-40B4-BE49-F238E27FC236}">
                <a16:creationId xmlns:a16="http://schemas.microsoft.com/office/drawing/2014/main" id="{4EAC3349-D5E8-C2BC-8DF0-9E691831FF0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880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2. Historical Context &amp; Research</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562659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Data sources, Ocean Characteristics, Modelling Approaches</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13875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Further Insights Shaping Our Approach</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638267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Challenges &amp; Research Approach</a:t>
            </a:r>
          </a:p>
        </p:txBody>
      </p:sp>
      <p:sp>
        <p:nvSpPr>
          <p:cNvPr id="4" name="Oval 3">
            <a:extLst>
              <a:ext uri="{FF2B5EF4-FFF2-40B4-BE49-F238E27FC236}">
                <a16:creationId xmlns:a16="http://schemas.microsoft.com/office/drawing/2014/main" id="{02F1EFA7-95C2-BCCA-7957-BAA60F1ECF3C}"/>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7" name="Oval 6">
            <a:extLst>
              <a:ext uri="{FF2B5EF4-FFF2-40B4-BE49-F238E27FC236}">
                <a16:creationId xmlns:a16="http://schemas.microsoft.com/office/drawing/2014/main" id="{5992E65D-2339-7F35-EBF5-27C50EC8287E}"/>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D62C0A7F-C610-2CCE-8007-A9795AC7E169}"/>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DA5F8E58-1C56-EB8B-98B7-019AF6E7B246}"/>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559C160D-BB56-6792-A190-B764C7427BD8}"/>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D69B021A-B533-74D3-631B-797912B409B8}"/>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DD5237D4-6147-39F1-C414-BEC7DAB1FB4C}"/>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6" name="Group 15">
            <a:extLst>
              <a:ext uri="{FF2B5EF4-FFF2-40B4-BE49-F238E27FC236}">
                <a16:creationId xmlns:a16="http://schemas.microsoft.com/office/drawing/2014/main" id="{191EAF64-09FB-0C8E-73CA-92830453FDEE}"/>
              </a:ext>
            </a:extLst>
          </p:cNvPr>
          <p:cNvGrpSpPr/>
          <p:nvPr/>
        </p:nvGrpSpPr>
        <p:grpSpPr>
          <a:xfrm>
            <a:off x="20601930" y="6345095"/>
            <a:ext cx="1505999" cy="772018"/>
            <a:chOff x="20653051" y="6372244"/>
            <a:chExt cx="1505999" cy="772018"/>
          </a:xfrm>
        </p:grpSpPr>
        <p:pic>
          <p:nvPicPr>
            <p:cNvPr id="17" name="Picture 2" descr="Download London School of Economics and ...">
              <a:extLst>
                <a:ext uri="{FF2B5EF4-FFF2-40B4-BE49-F238E27FC236}">
                  <a16:creationId xmlns:a16="http://schemas.microsoft.com/office/drawing/2014/main" id="{6409366D-1A53-245B-0528-4906DFD3A1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B254FA43-69B1-BD82-217C-DEFB635C95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531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250"/>
                                        <p:tgtEl>
                                          <p:spTgt spid="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5F755E-6918-FE11-5E52-7AA4168F69DC}"/>
              </a:ext>
            </a:extLst>
          </p:cNvPr>
          <p:cNvSpPr txBox="1"/>
          <p:nvPr/>
        </p:nvSpPr>
        <p:spPr>
          <a:xfrm>
            <a:off x="16658083" y="-1566362"/>
            <a:ext cx="184731" cy="830997"/>
          </a:xfrm>
          <a:prstGeom prst="rect">
            <a:avLst/>
          </a:prstGeom>
          <a:noFill/>
        </p:spPr>
        <p:txBody>
          <a:bodyPr wrap="none" rtlCol="0">
            <a:spAutoFit/>
          </a:bodyPr>
          <a:lstStyle/>
          <a:p>
            <a:endParaRPr lang="de-DE"/>
          </a:p>
        </p:txBody>
      </p:sp>
      <p:sp>
        <p:nvSpPr>
          <p:cNvPr id="13" name="Title 1">
            <a:extLst>
              <a:ext uri="{FF2B5EF4-FFF2-40B4-BE49-F238E27FC236}">
                <a16:creationId xmlns:a16="http://schemas.microsoft.com/office/drawing/2014/main" id="{E8E80CB6-B94E-4748-17C6-DE3855A214F0}"/>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3200"/>
              <a:t>Our research will build opon the relevant characteristics, models, and data</a:t>
            </a:r>
          </a:p>
        </p:txBody>
      </p:sp>
      <p:sp>
        <p:nvSpPr>
          <p:cNvPr id="3" name="TextBox 2">
            <a:extLst>
              <a:ext uri="{FF2B5EF4-FFF2-40B4-BE49-F238E27FC236}">
                <a16:creationId xmlns:a16="http://schemas.microsoft.com/office/drawing/2014/main" id="{7F7A01EA-3013-15C9-ECF0-24BAA1AB2533}"/>
              </a:ext>
            </a:extLst>
          </p:cNvPr>
          <p:cNvSpPr txBox="1"/>
          <p:nvPr/>
        </p:nvSpPr>
        <p:spPr>
          <a:xfrm>
            <a:off x="16683856" y="19173"/>
            <a:ext cx="3790651" cy="1200329"/>
          </a:xfrm>
          <a:prstGeom prst="rect">
            <a:avLst/>
          </a:prstGeom>
          <a:solidFill>
            <a:srgbClr val="FFFF00"/>
          </a:solidFill>
        </p:spPr>
        <p:txBody>
          <a:bodyPr wrap="square">
            <a:spAutoFit/>
          </a:bodyPr>
          <a:lstStyle/>
          <a:p>
            <a:pPr>
              <a:buFont typeface="Arial" panose="020B0604020202020204" pitchFamily="34" charset="0"/>
              <a:buChar char="•"/>
            </a:pPr>
            <a:r>
              <a:rPr lang="en-US" sz="2400"/>
              <a:t>Category based</a:t>
            </a:r>
          </a:p>
          <a:p>
            <a:pPr>
              <a:buFont typeface="Arial" panose="020B0604020202020204" pitchFamily="34" charset="0"/>
              <a:buChar char="•"/>
            </a:pPr>
            <a:r>
              <a:rPr lang="en-US" sz="2400"/>
              <a:t>Cart completion</a:t>
            </a:r>
          </a:p>
          <a:p>
            <a:pPr>
              <a:buFont typeface="Arial" panose="020B0604020202020204" pitchFamily="34" charset="0"/>
              <a:buChar char="•"/>
            </a:pPr>
            <a:r>
              <a:rPr lang="en-US" sz="2400"/>
              <a:t>Technisches Zubehör</a:t>
            </a:r>
          </a:p>
        </p:txBody>
      </p:sp>
      <p:pic>
        <p:nvPicPr>
          <p:cNvPr id="6146" name="Picture 2">
            <a:extLst>
              <a:ext uri="{FF2B5EF4-FFF2-40B4-BE49-F238E27FC236}">
                <a16:creationId xmlns:a16="http://schemas.microsoft.com/office/drawing/2014/main" id="{300BA6EB-D7ED-0FB8-4075-ACA28F458B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54" r="37237"/>
          <a:stretch/>
        </p:blipFill>
        <p:spPr bwMode="auto">
          <a:xfrm>
            <a:off x="16683857" y="0"/>
            <a:ext cx="7703318" cy="13753527"/>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7A0C009C-1799-407A-9B7A-8DB61133151A}"/>
              </a:ext>
            </a:extLst>
          </p:cNvPr>
          <p:cNvGrpSpPr/>
          <p:nvPr/>
        </p:nvGrpSpPr>
        <p:grpSpPr>
          <a:xfrm>
            <a:off x="714679" y="2610322"/>
            <a:ext cx="7734492" cy="879038"/>
            <a:chOff x="714678" y="2595380"/>
            <a:chExt cx="13927181" cy="879038"/>
          </a:xfrm>
        </p:grpSpPr>
        <p:sp>
          <p:nvSpPr>
            <p:cNvPr id="29" name="Title 1">
              <a:extLst>
                <a:ext uri="{FF2B5EF4-FFF2-40B4-BE49-F238E27FC236}">
                  <a16:creationId xmlns:a16="http://schemas.microsoft.com/office/drawing/2014/main" id="{992D6494-5561-BC84-9996-24A99FAF7153}"/>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Ocean Characteristics</a:t>
              </a:r>
            </a:p>
          </p:txBody>
        </p:sp>
        <p:cxnSp>
          <p:nvCxnSpPr>
            <p:cNvPr id="30" name="Elbow Connector 37">
              <a:extLst>
                <a:ext uri="{FF2B5EF4-FFF2-40B4-BE49-F238E27FC236}">
                  <a16:creationId xmlns:a16="http://schemas.microsoft.com/office/drawing/2014/main" id="{6F1C226F-946F-C48F-B4CF-499DD28DE7EA}"/>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2" name="Google Shape;3948;ge3632631ac_0_100">
            <a:extLst>
              <a:ext uri="{FF2B5EF4-FFF2-40B4-BE49-F238E27FC236}">
                <a16:creationId xmlns:a16="http://schemas.microsoft.com/office/drawing/2014/main" id="{5BF7687F-4E16-9536-7DAA-32F83FDCCCF4}"/>
              </a:ext>
            </a:extLst>
          </p:cNvPr>
          <p:cNvSpPr txBox="1">
            <a:spLocks/>
          </p:cNvSpPr>
          <p:nvPr/>
        </p:nvSpPr>
        <p:spPr>
          <a:xfrm>
            <a:off x="859888" y="3345343"/>
            <a:ext cx="7574534" cy="4985980"/>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cchi Depth (ZSD)</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hlorophyll –a(CH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Turbidity(TUR)</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uspended Particulate Matter (SPM)</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Volume Attenution Coefficient (KD490)</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Dissolved Oxygen (DO)</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ainity(SA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Surface Temperature (SST)</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Wave Height (SWH)</a:t>
            </a:r>
          </a:p>
        </p:txBody>
      </p:sp>
      <p:sp>
        <p:nvSpPr>
          <p:cNvPr id="4" name="Title 1">
            <a:extLst>
              <a:ext uri="{FF2B5EF4-FFF2-40B4-BE49-F238E27FC236}">
                <a16:creationId xmlns:a16="http://schemas.microsoft.com/office/drawing/2014/main" id="{73871883-37D5-7DBC-54C0-962D97754AB3}"/>
              </a:ext>
            </a:extLst>
          </p:cNvPr>
          <p:cNvSpPr txBox="1">
            <a:spLocks/>
          </p:cNvSpPr>
          <p:nvPr/>
        </p:nvSpPr>
        <p:spPr>
          <a:xfrm>
            <a:off x="834227" y="8428005"/>
            <a:ext cx="7454985"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2"/>
                </a:solidFill>
                <a:latin typeface="Montserrat SemiBold" pitchFamily="2" charset="77"/>
              </a:rPr>
              <a:t>Modelling Approaches</a:t>
            </a:r>
          </a:p>
        </p:txBody>
      </p:sp>
      <p:cxnSp>
        <p:nvCxnSpPr>
          <p:cNvPr id="5" name="Elbow Connector 37">
            <a:extLst>
              <a:ext uri="{FF2B5EF4-FFF2-40B4-BE49-F238E27FC236}">
                <a16:creationId xmlns:a16="http://schemas.microsoft.com/office/drawing/2014/main" id="{4A7D0D91-5463-105D-9B02-5F23FAFE0BB7}"/>
              </a:ext>
            </a:extLst>
          </p:cNvPr>
          <p:cNvCxnSpPr>
            <a:cxnSpLocks/>
          </p:cNvCxnSpPr>
          <p:nvPr/>
        </p:nvCxnSpPr>
        <p:spPr>
          <a:xfrm>
            <a:off x="859887" y="9163050"/>
            <a:ext cx="777240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 name="Google Shape;3948;ge3632631ac_0_100">
            <a:extLst>
              <a:ext uri="{FF2B5EF4-FFF2-40B4-BE49-F238E27FC236}">
                <a16:creationId xmlns:a16="http://schemas.microsoft.com/office/drawing/2014/main" id="{9C3347DE-A50B-7383-CCED-620D923D35B7}"/>
              </a:ext>
            </a:extLst>
          </p:cNvPr>
          <p:cNvSpPr txBox="1">
            <a:spLocks/>
          </p:cNvSpPr>
          <p:nvPr/>
        </p:nvSpPr>
        <p:spPr>
          <a:xfrm>
            <a:off x="834226" y="9235058"/>
            <a:ext cx="10841199"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AR, ARIMA, SARIM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Random Forest (RF)</a:t>
            </a:r>
            <a:endParaRPr lang="en-US" sz="2400" b="1" dirty="0">
              <a:solidFill>
                <a:srgbClr val="000000"/>
              </a:solidFill>
              <a:latin typeface="Montserrat" pitchFamily="2" charset="77"/>
            </a:endParaRP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Gradient Boosting Trees (GBT)</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Neural Networks (CNNs, RNNs, LSTMs)</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Transformer – Based AI (</a:t>
            </a:r>
            <a:r>
              <a:rPr lang="en-US" sz="2400" b="1" dirty="0" err="1">
                <a:solidFill>
                  <a:srgbClr val="000000"/>
                </a:solidFill>
                <a:latin typeface="Montserrat" pitchFamily="2" charset="77"/>
              </a:rPr>
              <a:t>GraphCast</a:t>
            </a:r>
            <a:r>
              <a:rPr lang="en-US" sz="2400" b="1" dirty="0">
                <a:solidFill>
                  <a:srgbClr val="000000"/>
                </a:solidFill>
                <a:latin typeface="Montserrat" pitchFamily="2" charset="77"/>
              </a:rPr>
              <a:t>, MetNet-3)</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Hybrid AI Physics Models</a:t>
            </a:r>
          </a:p>
        </p:txBody>
      </p:sp>
      <p:sp>
        <p:nvSpPr>
          <p:cNvPr id="10" name="Google Shape;3948;ge3632631ac_0_100">
            <a:extLst>
              <a:ext uri="{FF2B5EF4-FFF2-40B4-BE49-F238E27FC236}">
                <a16:creationId xmlns:a16="http://schemas.microsoft.com/office/drawing/2014/main" id="{C30C03A8-484F-EBB8-380F-BE7E6BFE8EFA}"/>
              </a:ext>
            </a:extLst>
          </p:cNvPr>
          <p:cNvSpPr txBox="1">
            <a:spLocks/>
          </p:cNvSpPr>
          <p:nvPr/>
        </p:nvSpPr>
        <p:spPr>
          <a:xfrm>
            <a:off x="8926206" y="3345343"/>
            <a:ext cx="7574534"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opernicus Marine Servic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ntinel 3 (ES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EA WISE-SoE Waterbas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In-Situ Buoy &amp; Field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RA5 Reanalysis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NOAA Wind &amp; Wave Data</a:t>
            </a:r>
          </a:p>
        </p:txBody>
      </p:sp>
      <p:grpSp>
        <p:nvGrpSpPr>
          <p:cNvPr id="11" name="Group 10">
            <a:extLst>
              <a:ext uri="{FF2B5EF4-FFF2-40B4-BE49-F238E27FC236}">
                <a16:creationId xmlns:a16="http://schemas.microsoft.com/office/drawing/2014/main" id="{1762512D-F525-B607-1276-74D731B86411}"/>
              </a:ext>
            </a:extLst>
          </p:cNvPr>
          <p:cNvGrpSpPr/>
          <p:nvPr/>
        </p:nvGrpSpPr>
        <p:grpSpPr>
          <a:xfrm>
            <a:off x="8923591" y="2610322"/>
            <a:ext cx="7174373" cy="879038"/>
            <a:chOff x="714678" y="2595380"/>
            <a:chExt cx="13927181" cy="879038"/>
          </a:xfrm>
        </p:grpSpPr>
        <p:sp>
          <p:nvSpPr>
            <p:cNvPr id="12" name="Title 1">
              <a:extLst>
                <a:ext uri="{FF2B5EF4-FFF2-40B4-BE49-F238E27FC236}">
                  <a16:creationId xmlns:a16="http://schemas.microsoft.com/office/drawing/2014/main" id="{31EC662B-C004-122D-D54C-D9DFFAF9B0A7}"/>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Data Sources so far</a:t>
              </a:r>
            </a:p>
          </p:txBody>
        </p:sp>
        <p:cxnSp>
          <p:nvCxnSpPr>
            <p:cNvPr id="15" name="Elbow Connector 37">
              <a:extLst>
                <a:ext uri="{FF2B5EF4-FFF2-40B4-BE49-F238E27FC236}">
                  <a16:creationId xmlns:a16="http://schemas.microsoft.com/office/drawing/2014/main" id="{C6D203DB-E7F3-B32C-7AAD-F5A58C835D1D}"/>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16" name="Text Placeholder 2">
            <a:extLst>
              <a:ext uri="{FF2B5EF4-FFF2-40B4-BE49-F238E27FC236}">
                <a16:creationId xmlns:a16="http://schemas.microsoft.com/office/drawing/2014/main" id="{503621F7-61FE-5ABF-C427-4C8943052D57}"/>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2300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D0208-8E28-9511-3C6F-06AD492BF02C}"/>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1DF811B-857C-0F98-E744-EADDECFEF769}"/>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Several challenges in the maritime industry form relevant research areas covered by our model</a:t>
            </a:r>
          </a:p>
        </p:txBody>
      </p:sp>
      <p:grpSp>
        <p:nvGrpSpPr>
          <p:cNvPr id="2" name="Group 1">
            <a:extLst>
              <a:ext uri="{FF2B5EF4-FFF2-40B4-BE49-F238E27FC236}">
                <a16:creationId xmlns:a16="http://schemas.microsoft.com/office/drawing/2014/main" id="{899714C8-6FD3-D804-F674-705BCA69D28E}"/>
              </a:ext>
            </a:extLst>
          </p:cNvPr>
          <p:cNvGrpSpPr/>
          <p:nvPr/>
        </p:nvGrpSpPr>
        <p:grpSpPr>
          <a:xfrm>
            <a:off x="2760676" y="10171118"/>
            <a:ext cx="18827389" cy="1439981"/>
            <a:chOff x="3512496" y="11899356"/>
            <a:chExt cx="17394059" cy="1440001"/>
          </a:xfrm>
        </p:grpSpPr>
        <p:sp>
          <p:nvSpPr>
            <p:cNvPr id="3" name="Rounded Rectangle 2">
              <a:extLst>
                <a:ext uri="{FF2B5EF4-FFF2-40B4-BE49-F238E27FC236}">
                  <a16:creationId xmlns:a16="http://schemas.microsoft.com/office/drawing/2014/main" id="{581E787B-4AEB-E194-6299-6CF4AA18F91B}"/>
                </a:ext>
              </a:extLst>
            </p:cNvPr>
            <p:cNvSpPr/>
            <p:nvPr/>
          </p:nvSpPr>
          <p:spPr>
            <a:xfrm rot="5400000">
              <a:off x="11489525" y="4642408"/>
              <a:ext cx="1440001" cy="15953898"/>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699" rIns="91425" bIns="45699" rtlCol="0" anchor="ctr" anchorCtr="0">
              <a:noAutofit/>
            </a:bodyPr>
            <a:lstStyle/>
            <a:p>
              <a:pPr algn="ctr"/>
              <a:endParaRPr lang="en-US" sz="7199" b="1">
                <a:solidFill>
                  <a:schemeClr val="tx2"/>
                </a:solidFill>
                <a:latin typeface="Montserrat"/>
              </a:endParaRPr>
            </a:p>
          </p:txBody>
        </p:sp>
        <p:sp>
          <p:nvSpPr>
            <p:cNvPr id="4" name="Google Shape;1019;p152">
              <a:extLst>
                <a:ext uri="{FF2B5EF4-FFF2-40B4-BE49-F238E27FC236}">
                  <a16:creationId xmlns:a16="http://schemas.microsoft.com/office/drawing/2014/main" id="{21585B10-0816-9066-77B3-EFFCA567FB52}"/>
                </a:ext>
              </a:extLst>
            </p:cNvPr>
            <p:cNvSpPr txBox="1"/>
            <p:nvPr/>
          </p:nvSpPr>
          <p:spPr>
            <a:xfrm>
              <a:off x="3512496" y="12403409"/>
              <a:ext cx="17394059" cy="461628"/>
            </a:xfrm>
            <a:prstGeom prst="rect">
              <a:avLst/>
            </a:prstGeom>
            <a:noFill/>
            <a:ln>
              <a:noFill/>
            </a:ln>
          </p:spPr>
          <p:txBody>
            <a:bodyPr spcFirstLastPara="1" wrap="square" lIns="91425" tIns="45699" rIns="91425" bIns="45699" anchor="t" anchorCtr="0">
              <a:spAutoFit/>
            </a:bodyPr>
            <a:lstStyle/>
            <a:p>
              <a:pPr algn="ctr"/>
              <a:r>
                <a:rPr lang="de-DE" sz="2400" b="1" dirty="0">
                  <a:solidFill>
                    <a:srgbClr val="2463EC"/>
                  </a:solidFill>
                  <a:latin typeface="Montserrat"/>
                  <a:ea typeface="Montserrat"/>
                  <a:cs typeface="Montserrat"/>
                  <a:sym typeface="Montserrat"/>
                </a:rPr>
                <a:t>These are just some of the most recent topics in the area of modelling the world‘s oceans</a:t>
              </a:r>
              <a:endParaRPr lang="de-DE" sz="2400" dirty="0">
                <a:solidFill>
                  <a:srgbClr val="2463EC"/>
                </a:solidFill>
                <a:latin typeface="Montserrat"/>
                <a:ea typeface="Montserrat"/>
                <a:cs typeface="Montserrat"/>
                <a:sym typeface="Montserrat"/>
              </a:endParaRPr>
            </a:p>
          </p:txBody>
        </p:sp>
      </p:grpSp>
      <p:sp>
        <p:nvSpPr>
          <p:cNvPr id="53" name="Google Shape;3948;ge3632631ac_0_100">
            <a:extLst>
              <a:ext uri="{FF2B5EF4-FFF2-40B4-BE49-F238E27FC236}">
                <a16:creationId xmlns:a16="http://schemas.microsoft.com/office/drawing/2014/main" id="{9414A1B5-7A53-9F55-29EB-499FA4F5D38A}"/>
              </a:ext>
            </a:extLst>
          </p:cNvPr>
          <p:cNvSpPr txBox="1">
            <a:spLocks/>
          </p:cNvSpPr>
          <p:nvPr/>
        </p:nvSpPr>
        <p:spPr>
          <a:xfrm>
            <a:off x="862763" y="5102726"/>
            <a:ext cx="2262638" cy="553998"/>
          </a:xfrm>
          <a:prstGeom prst="rect">
            <a:avLst/>
          </a:prstGeom>
          <a:noFill/>
          <a:ln>
            <a:noFill/>
          </a:ln>
        </p:spPr>
        <p:txBody>
          <a:bodyPr spcFirstLastPara="1" wrap="square" lIns="0" tIns="0" rIns="0" bIns="0" anchor="t" anchorCtr="0">
            <a:spAutoFit/>
          </a:bodyPr>
          <a:lstStyle/>
          <a:p>
            <a:pPr algn="ctr">
              <a:lnSpc>
                <a:spcPct val="150000"/>
              </a:lnSpc>
            </a:pPr>
            <a:r>
              <a:rPr lang="en-US" sz="2400" dirty="0">
                <a:solidFill>
                  <a:srgbClr val="FF4C41"/>
                </a:solidFill>
                <a:latin typeface="Montserrat" pitchFamily="2" charset="77"/>
              </a:rPr>
              <a:t>Challenge</a:t>
            </a:r>
            <a:endParaRPr lang="de-DE" sz="2400" dirty="0">
              <a:solidFill>
                <a:srgbClr val="FF4C41"/>
              </a:solidFill>
              <a:latin typeface="Montserrat" pitchFamily="2" charset="77"/>
            </a:endParaRPr>
          </a:p>
        </p:txBody>
      </p:sp>
      <p:sp>
        <p:nvSpPr>
          <p:cNvPr id="54" name="Google Shape;3948;ge3632631ac_0_100">
            <a:extLst>
              <a:ext uri="{FF2B5EF4-FFF2-40B4-BE49-F238E27FC236}">
                <a16:creationId xmlns:a16="http://schemas.microsoft.com/office/drawing/2014/main" id="{7B635C16-EEF0-2637-04D3-99CF323B485D}"/>
              </a:ext>
            </a:extLst>
          </p:cNvPr>
          <p:cNvSpPr txBox="1">
            <a:spLocks/>
          </p:cNvSpPr>
          <p:nvPr/>
        </p:nvSpPr>
        <p:spPr>
          <a:xfrm>
            <a:off x="862763" y="6800721"/>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latin typeface="Montserrat" pitchFamily="2" charset="77"/>
              </a:rPr>
              <a:t>Research Area</a:t>
            </a:r>
          </a:p>
        </p:txBody>
      </p:sp>
      <p:sp>
        <p:nvSpPr>
          <p:cNvPr id="55" name="Google Shape;3948;ge3632631ac_0_100">
            <a:extLst>
              <a:ext uri="{FF2B5EF4-FFF2-40B4-BE49-F238E27FC236}">
                <a16:creationId xmlns:a16="http://schemas.microsoft.com/office/drawing/2014/main" id="{883E9AEA-0775-EEE6-9BA8-EFFED02A40A0}"/>
              </a:ext>
            </a:extLst>
          </p:cNvPr>
          <p:cNvSpPr txBox="1">
            <a:spLocks/>
          </p:cNvSpPr>
          <p:nvPr/>
        </p:nvSpPr>
        <p:spPr>
          <a:xfrm>
            <a:off x="862763" y="8442970"/>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solidFill>
                  <a:srgbClr val="0081FB"/>
                </a:solidFill>
                <a:latin typeface="Montserrat" pitchFamily="2" charset="77"/>
              </a:rPr>
              <a:t>Hypothesis</a:t>
            </a:r>
          </a:p>
        </p:txBody>
      </p:sp>
      <p:grpSp>
        <p:nvGrpSpPr>
          <p:cNvPr id="67" name="Group 66">
            <a:extLst>
              <a:ext uri="{FF2B5EF4-FFF2-40B4-BE49-F238E27FC236}">
                <a16:creationId xmlns:a16="http://schemas.microsoft.com/office/drawing/2014/main" id="{C84E33DB-D4A0-5077-E911-250878D72B50}"/>
              </a:ext>
            </a:extLst>
          </p:cNvPr>
          <p:cNvGrpSpPr/>
          <p:nvPr/>
        </p:nvGrpSpPr>
        <p:grpSpPr>
          <a:xfrm>
            <a:off x="3773124" y="2893593"/>
            <a:ext cx="4608861" cy="7421982"/>
            <a:chOff x="3773124" y="2893593"/>
            <a:chExt cx="4608861" cy="7421982"/>
          </a:xfrm>
        </p:grpSpPr>
        <p:sp>
          <p:nvSpPr>
            <p:cNvPr id="49" name="Rounded Rectangle 48">
              <a:extLst>
                <a:ext uri="{FF2B5EF4-FFF2-40B4-BE49-F238E27FC236}">
                  <a16:creationId xmlns:a16="http://schemas.microsoft.com/office/drawing/2014/main" id="{B58F4B86-28A2-FF82-DC94-CC8475CF330E}"/>
                </a:ext>
              </a:extLst>
            </p:cNvPr>
            <p:cNvSpPr/>
            <p:nvPr/>
          </p:nvSpPr>
          <p:spPr>
            <a:xfrm>
              <a:off x="3773124"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50" name="Google Shape;3948;ge3632631ac_0_100">
              <a:extLst>
                <a:ext uri="{FF2B5EF4-FFF2-40B4-BE49-F238E27FC236}">
                  <a16:creationId xmlns:a16="http://schemas.microsoft.com/office/drawing/2014/main" id="{658CF0A9-1F80-B6ED-0DD1-BD9F591FF37D}"/>
                </a:ext>
              </a:extLst>
            </p:cNvPr>
            <p:cNvSpPr txBox="1">
              <a:spLocks/>
            </p:cNvSpPr>
            <p:nvPr/>
          </p:nvSpPr>
          <p:spPr>
            <a:xfrm>
              <a:off x="4066152"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Water Quality Monitoring: Leveraging Satellite Data for Agricultural Pollution Control</a:t>
              </a:r>
            </a:p>
          </p:txBody>
        </p:sp>
        <p:sp>
          <p:nvSpPr>
            <p:cNvPr id="51" name="Google Shape;3948;ge3632631ac_0_100">
              <a:extLst>
                <a:ext uri="{FF2B5EF4-FFF2-40B4-BE49-F238E27FC236}">
                  <a16:creationId xmlns:a16="http://schemas.microsoft.com/office/drawing/2014/main" id="{BFA383B8-6455-1C27-B429-48907437C6E1}"/>
                </a:ext>
              </a:extLst>
            </p:cNvPr>
            <p:cNvSpPr txBox="1">
              <a:spLocks/>
            </p:cNvSpPr>
            <p:nvPr/>
          </p:nvSpPr>
          <p:spPr>
            <a:xfrm>
              <a:off x="4066152"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Lack in Ocean Pollution control</a:t>
              </a:r>
              <a:endParaRPr lang="de-DE" sz="2400" b="1" dirty="0">
                <a:solidFill>
                  <a:srgbClr val="FF4C41"/>
                </a:solidFill>
                <a:latin typeface="Montserrat" pitchFamily="2" charset="77"/>
              </a:endParaRPr>
            </a:p>
          </p:txBody>
        </p:sp>
        <p:sp>
          <p:nvSpPr>
            <p:cNvPr id="52" name="Oval 51">
              <a:extLst>
                <a:ext uri="{FF2B5EF4-FFF2-40B4-BE49-F238E27FC236}">
                  <a16:creationId xmlns:a16="http://schemas.microsoft.com/office/drawing/2014/main" id="{F8D731EE-92DE-0172-66CC-24EC395265F4}"/>
                </a:ext>
              </a:extLst>
            </p:cNvPr>
            <p:cNvSpPr>
              <a:spLocks noChangeAspect="1"/>
            </p:cNvSpPr>
            <p:nvPr/>
          </p:nvSpPr>
          <p:spPr bwMode="gray">
            <a:xfrm>
              <a:off x="5341229"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1</a:t>
              </a:r>
            </a:p>
          </p:txBody>
        </p:sp>
        <p:sp>
          <p:nvSpPr>
            <p:cNvPr id="57" name="Google Shape;3948;ge3632631ac_0_100">
              <a:extLst>
                <a:ext uri="{FF2B5EF4-FFF2-40B4-BE49-F238E27FC236}">
                  <a16:creationId xmlns:a16="http://schemas.microsoft.com/office/drawing/2014/main" id="{483B8A70-462E-280F-317F-F1CA2CD6081C}"/>
                </a:ext>
              </a:extLst>
            </p:cNvPr>
            <p:cNvSpPr txBox="1">
              <a:spLocks/>
            </p:cNvSpPr>
            <p:nvPr/>
          </p:nvSpPr>
          <p:spPr>
            <a:xfrm>
              <a:off x="4066152"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abling real time tracking of agricultural runoff to promote sustainable practices</a:t>
              </a:r>
            </a:p>
            <a:p>
              <a:pPr algn="ctr"/>
              <a:endParaRPr lang="de-DE" sz="2000" dirty="0">
                <a:solidFill>
                  <a:srgbClr val="0081FB"/>
                </a:solidFill>
                <a:latin typeface="Montserrat" pitchFamily="2" charset="77"/>
              </a:endParaRPr>
            </a:p>
          </p:txBody>
        </p:sp>
      </p:grpSp>
      <p:grpSp>
        <p:nvGrpSpPr>
          <p:cNvPr id="68" name="Group 67">
            <a:extLst>
              <a:ext uri="{FF2B5EF4-FFF2-40B4-BE49-F238E27FC236}">
                <a16:creationId xmlns:a16="http://schemas.microsoft.com/office/drawing/2014/main" id="{80797AD3-BE1A-1286-2C49-8C8D3D1CEFB7}"/>
              </a:ext>
            </a:extLst>
          </p:cNvPr>
          <p:cNvGrpSpPr/>
          <p:nvPr/>
        </p:nvGrpSpPr>
        <p:grpSpPr>
          <a:xfrm>
            <a:off x="8836195" y="2893593"/>
            <a:ext cx="4608861" cy="7421982"/>
            <a:chOff x="8737203" y="2893593"/>
            <a:chExt cx="4608861" cy="7421982"/>
          </a:xfrm>
        </p:grpSpPr>
        <p:sp>
          <p:nvSpPr>
            <p:cNvPr id="45" name="Rounded Rectangle 44">
              <a:extLst>
                <a:ext uri="{FF2B5EF4-FFF2-40B4-BE49-F238E27FC236}">
                  <a16:creationId xmlns:a16="http://schemas.microsoft.com/office/drawing/2014/main" id="{6688E995-4060-F698-A7A1-4C1316F54218}"/>
                </a:ext>
              </a:extLst>
            </p:cNvPr>
            <p:cNvSpPr/>
            <p:nvPr/>
          </p:nvSpPr>
          <p:spPr>
            <a:xfrm>
              <a:off x="8737203"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7" name="Google Shape;3948;ge3632631ac_0_100">
              <a:extLst>
                <a:ext uri="{FF2B5EF4-FFF2-40B4-BE49-F238E27FC236}">
                  <a16:creationId xmlns:a16="http://schemas.microsoft.com/office/drawing/2014/main" id="{7F276927-9940-B095-9856-603685B3C81B}"/>
                </a:ext>
              </a:extLst>
            </p:cNvPr>
            <p:cNvSpPr txBox="1">
              <a:spLocks/>
            </p:cNvSpPr>
            <p:nvPr/>
          </p:nvSpPr>
          <p:spPr>
            <a:xfrm>
              <a:off x="903023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No aligned Water Pollution Monitoring</a:t>
              </a:r>
              <a:endParaRPr lang="de-DE" sz="2400" b="1" dirty="0">
                <a:solidFill>
                  <a:srgbClr val="FF4C41"/>
                </a:solidFill>
                <a:latin typeface="Montserrat" pitchFamily="2" charset="77"/>
              </a:endParaRPr>
            </a:p>
          </p:txBody>
        </p:sp>
        <p:sp>
          <p:nvSpPr>
            <p:cNvPr id="48" name="Oval 47">
              <a:extLst>
                <a:ext uri="{FF2B5EF4-FFF2-40B4-BE49-F238E27FC236}">
                  <a16:creationId xmlns:a16="http://schemas.microsoft.com/office/drawing/2014/main" id="{16546CA9-D330-073F-BC4C-98927E7E34E5}"/>
                </a:ext>
              </a:extLst>
            </p:cNvPr>
            <p:cNvSpPr>
              <a:spLocks noChangeAspect="1"/>
            </p:cNvSpPr>
            <p:nvPr/>
          </p:nvSpPr>
          <p:spPr bwMode="gray">
            <a:xfrm>
              <a:off x="10305308"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2</a:t>
              </a:r>
            </a:p>
          </p:txBody>
        </p:sp>
        <p:sp>
          <p:nvSpPr>
            <p:cNvPr id="58" name="Google Shape;3948;ge3632631ac_0_100">
              <a:extLst>
                <a:ext uri="{FF2B5EF4-FFF2-40B4-BE49-F238E27FC236}">
                  <a16:creationId xmlns:a16="http://schemas.microsoft.com/office/drawing/2014/main" id="{CDD108E8-975D-E750-9CA7-246F4B58E053}"/>
                </a:ext>
              </a:extLst>
            </p:cNvPr>
            <p:cNvSpPr txBox="1">
              <a:spLocks/>
            </p:cNvSpPr>
            <p:nvPr/>
          </p:nvSpPr>
          <p:spPr>
            <a:xfrm>
              <a:off x="9029708" y="6800721"/>
              <a:ext cx="4022805" cy="1015663"/>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Using Remote Sensing to Improve Efficiency of Water Pollution Monitoring</a:t>
              </a:r>
            </a:p>
          </p:txBody>
        </p:sp>
        <p:sp>
          <p:nvSpPr>
            <p:cNvPr id="59" name="Google Shape;3948;ge3632631ac_0_100">
              <a:extLst>
                <a:ext uri="{FF2B5EF4-FFF2-40B4-BE49-F238E27FC236}">
                  <a16:creationId xmlns:a16="http://schemas.microsoft.com/office/drawing/2014/main" id="{B374230C-5D5E-784B-5247-ADB70097295E}"/>
                </a:ext>
              </a:extLst>
            </p:cNvPr>
            <p:cNvSpPr txBox="1">
              <a:spLocks/>
            </p:cNvSpPr>
            <p:nvPr/>
          </p:nvSpPr>
          <p:spPr>
            <a:xfrm>
              <a:off x="9029708"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Provides cost-effective, scalable solution for real time Water quality assesment</a:t>
              </a:r>
            </a:p>
          </p:txBody>
        </p:sp>
      </p:grpSp>
      <p:grpSp>
        <p:nvGrpSpPr>
          <p:cNvPr id="69" name="Group 68">
            <a:extLst>
              <a:ext uri="{FF2B5EF4-FFF2-40B4-BE49-F238E27FC236}">
                <a16:creationId xmlns:a16="http://schemas.microsoft.com/office/drawing/2014/main" id="{1C12402B-5305-3EF2-91E0-D986FAFDC8E4}"/>
              </a:ext>
            </a:extLst>
          </p:cNvPr>
          <p:cNvGrpSpPr/>
          <p:nvPr/>
        </p:nvGrpSpPr>
        <p:grpSpPr>
          <a:xfrm>
            <a:off x="13899266" y="2893593"/>
            <a:ext cx="4608862" cy="7421982"/>
            <a:chOff x="13993787" y="2893593"/>
            <a:chExt cx="4608862" cy="7421982"/>
          </a:xfrm>
        </p:grpSpPr>
        <p:sp>
          <p:nvSpPr>
            <p:cNvPr id="41" name="Rounded Rectangle 40">
              <a:extLst>
                <a:ext uri="{FF2B5EF4-FFF2-40B4-BE49-F238E27FC236}">
                  <a16:creationId xmlns:a16="http://schemas.microsoft.com/office/drawing/2014/main" id="{8C9462CD-85E7-C396-D5EB-5A4C63C89A8E}"/>
                </a:ext>
              </a:extLst>
            </p:cNvPr>
            <p:cNvSpPr/>
            <p:nvPr/>
          </p:nvSpPr>
          <p:spPr>
            <a:xfrm>
              <a:off x="13993787"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3" name="Google Shape;3948;ge3632631ac_0_100">
              <a:extLst>
                <a:ext uri="{FF2B5EF4-FFF2-40B4-BE49-F238E27FC236}">
                  <a16:creationId xmlns:a16="http://schemas.microsoft.com/office/drawing/2014/main" id="{CDE69637-E24B-3B73-F5E5-2EDA866942D3}"/>
                </a:ext>
              </a:extLst>
            </p:cNvPr>
            <p:cNvSpPr txBox="1">
              <a:spLocks/>
            </p:cNvSpPr>
            <p:nvPr/>
          </p:nvSpPr>
          <p:spPr>
            <a:xfrm>
              <a:off x="13993787" y="5102726"/>
              <a:ext cx="4608862"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Implementation of Water Framework Directive</a:t>
              </a:r>
              <a:endParaRPr lang="de-DE" sz="2400" b="1" dirty="0">
                <a:solidFill>
                  <a:srgbClr val="FF4C41"/>
                </a:solidFill>
                <a:latin typeface="Montserrat" pitchFamily="2" charset="77"/>
              </a:endParaRPr>
            </a:p>
          </p:txBody>
        </p:sp>
        <p:sp>
          <p:nvSpPr>
            <p:cNvPr id="44" name="Oval 43">
              <a:extLst>
                <a:ext uri="{FF2B5EF4-FFF2-40B4-BE49-F238E27FC236}">
                  <a16:creationId xmlns:a16="http://schemas.microsoft.com/office/drawing/2014/main" id="{1034EEE8-4227-E6BF-5230-0FFC0DBAC93A}"/>
                </a:ext>
              </a:extLst>
            </p:cNvPr>
            <p:cNvSpPr>
              <a:spLocks noChangeAspect="1"/>
            </p:cNvSpPr>
            <p:nvPr/>
          </p:nvSpPr>
          <p:spPr bwMode="gray">
            <a:xfrm>
              <a:off x="15561892"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3</a:t>
              </a:r>
            </a:p>
          </p:txBody>
        </p:sp>
        <p:sp>
          <p:nvSpPr>
            <p:cNvPr id="60" name="Google Shape;3948;ge3632631ac_0_100">
              <a:extLst>
                <a:ext uri="{FF2B5EF4-FFF2-40B4-BE49-F238E27FC236}">
                  <a16:creationId xmlns:a16="http://schemas.microsoft.com/office/drawing/2014/main" id="{0CE6210A-44D1-0EE9-5D79-9EC35D019E38}"/>
                </a:ext>
              </a:extLst>
            </p:cNvPr>
            <p:cNvSpPr txBox="1">
              <a:spLocks/>
            </p:cNvSpPr>
            <p:nvPr/>
          </p:nvSpPr>
          <p:spPr>
            <a:xfrm>
              <a:off x="14286815"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Satellite-assisted monitoring of water quality to support the implementation of the Water Framework Directive</a:t>
              </a:r>
            </a:p>
          </p:txBody>
        </p:sp>
        <p:sp>
          <p:nvSpPr>
            <p:cNvPr id="61" name="Google Shape;3948;ge3632631ac_0_100">
              <a:extLst>
                <a:ext uri="{FF2B5EF4-FFF2-40B4-BE49-F238E27FC236}">
                  <a16:creationId xmlns:a16="http://schemas.microsoft.com/office/drawing/2014/main" id="{D661B316-0F27-2DB5-A3A6-A1DE7E66ECB8}"/>
                </a:ext>
              </a:extLst>
            </p:cNvPr>
            <p:cNvSpPr txBox="1">
              <a:spLocks/>
            </p:cNvSpPr>
            <p:nvPr/>
          </p:nvSpPr>
          <p:spPr>
            <a:xfrm>
              <a:off x="14286815"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Supports compliance with global water quality standards and regulatory frameworks</a:t>
              </a:r>
            </a:p>
          </p:txBody>
        </p:sp>
      </p:grpSp>
      <p:grpSp>
        <p:nvGrpSpPr>
          <p:cNvPr id="70" name="Group 69">
            <a:extLst>
              <a:ext uri="{FF2B5EF4-FFF2-40B4-BE49-F238E27FC236}">
                <a16:creationId xmlns:a16="http://schemas.microsoft.com/office/drawing/2014/main" id="{64728827-BF1F-AC35-FC7F-B8F5A5E34506}"/>
              </a:ext>
            </a:extLst>
          </p:cNvPr>
          <p:cNvGrpSpPr/>
          <p:nvPr/>
        </p:nvGrpSpPr>
        <p:grpSpPr>
          <a:xfrm>
            <a:off x="18962338" y="2893593"/>
            <a:ext cx="4608861" cy="7421982"/>
            <a:chOff x="18962338" y="2893593"/>
            <a:chExt cx="4608861" cy="7421982"/>
          </a:xfrm>
        </p:grpSpPr>
        <p:sp>
          <p:nvSpPr>
            <p:cNvPr id="27" name="Rounded Rectangle 26">
              <a:extLst>
                <a:ext uri="{FF2B5EF4-FFF2-40B4-BE49-F238E27FC236}">
                  <a16:creationId xmlns:a16="http://schemas.microsoft.com/office/drawing/2014/main" id="{875C6F6A-FC66-A9A0-28A9-39DDDC9702AC}"/>
                </a:ext>
              </a:extLst>
            </p:cNvPr>
            <p:cNvSpPr/>
            <p:nvPr/>
          </p:nvSpPr>
          <p:spPr>
            <a:xfrm>
              <a:off x="18962338"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31" name="Oval 30">
              <a:extLst>
                <a:ext uri="{FF2B5EF4-FFF2-40B4-BE49-F238E27FC236}">
                  <a16:creationId xmlns:a16="http://schemas.microsoft.com/office/drawing/2014/main" id="{CF9A00BB-57B0-73EF-EBB4-ED8BA1AA4333}"/>
                </a:ext>
              </a:extLst>
            </p:cNvPr>
            <p:cNvSpPr>
              <a:spLocks noChangeAspect="1"/>
            </p:cNvSpPr>
            <p:nvPr/>
          </p:nvSpPr>
          <p:spPr bwMode="gray">
            <a:xfrm>
              <a:off x="20530443"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4</a:t>
              </a:r>
            </a:p>
          </p:txBody>
        </p:sp>
        <p:sp>
          <p:nvSpPr>
            <p:cNvPr id="62" name="Google Shape;3948;ge3632631ac_0_100">
              <a:extLst>
                <a:ext uri="{FF2B5EF4-FFF2-40B4-BE49-F238E27FC236}">
                  <a16:creationId xmlns:a16="http://schemas.microsoft.com/office/drawing/2014/main" id="{EFF0E414-0CDC-3C96-3CFC-29C8EF6F2438}"/>
                </a:ext>
              </a:extLst>
            </p:cNvPr>
            <p:cNvSpPr txBox="1">
              <a:spLocks/>
            </p:cNvSpPr>
            <p:nvPr/>
          </p:nvSpPr>
          <p:spPr>
            <a:xfrm>
              <a:off x="19255366" y="6800721"/>
              <a:ext cx="4022805" cy="677108"/>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Ocean surface visibility prediction</a:t>
              </a:r>
            </a:p>
          </p:txBody>
        </p:sp>
        <p:sp>
          <p:nvSpPr>
            <p:cNvPr id="63" name="Google Shape;3948;ge3632631ac_0_100">
              <a:extLst>
                <a:ext uri="{FF2B5EF4-FFF2-40B4-BE49-F238E27FC236}">
                  <a16:creationId xmlns:a16="http://schemas.microsoft.com/office/drawing/2014/main" id="{7E9DF394-1EB8-A8B9-7AF7-0B8FDF3DB4F8}"/>
                </a:ext>
              </a:extLst>
            </p:cNvPr>
            <p:cNvSpPr txBox="1">
              <a:spLocks/>
            </p:cNvSpPr>
            <p:nvPr/>
          </p:nvSpPr>
          <p:spPr>
            <a:xfrm>
              <a:off x="19255366"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hances maritime safety and operational efficiency in navigation and offshore activities</a:t>
              </a:r>
            </a:p>
          </p:txBody>
        </p:sp>
        <p:sp>
          <p:nvSpPr>
            <p:cNvPr id="64" name="Google Shape;3948;ge3632631ac_0_100">
              <a:extLst>
                <a:ext uri="{FF2B5EF4-FFF2-40B4-BE49-F238E27FC236}">
                  <a16:creationId xmlns:a16="http://schemas.microsoft.com/office/drawing/2014/main" id="{28A5D00A-2928-E269-DBCE-80DE7CA107C4}"/>
                </a:ext>
              </a:extLst>
            </p:cNvPr>
            <p:cNvSpPr txBox="1">
              <a:spLocks/>
            </p:cNvSpPr>
            <p:nvPr/>
          </p:nvSpPr>
          <p:spPr>
            <a:xfrm>
              <a:off x="1925037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de-DE" sz="2400" b="1" dirty="0">
                  <a:solidFill>
                    <a:srgbClr val="FF4C41"/>
                  </a:solidFill>
                  <a:latin typeface="Montserrat" pitchFamily="2" charset="77"/>
                </a:rPr>
                <a:t>No aligned ocean visibility prediction</a:t>
              </a:r>
            </a:p>
          </p:txBody>
        </p:sp>
      </p:grpSp>
      <p:sp>
        <p:nvSpPr>
          <p:cNvPr id="71" name="Text Placeholder 2">
            <a:extLst>
              <a:ext uri="{FF2B5EF4-FFF2-40B4-BE49-F238E27FC236}">
                <a16:creationId xmlns:a16="http://schemas.microsoft.com/office/drawing/2014/main" id="{FA04FC75-B8A0-B403-FEA3-841DF8A4BD2E}"/>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0938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FB3793E0-8B68-3E56-B56B-A603CD9496DB}"/>
              </a:ext>
            </a:extLst>
          </p:cNvPr>
          <p:cNvSpPr txBox="1"/>
          <p:nvPr/>
        </p:nvSpPr>
        <p:spPr>
          <a:xfrm>
            <a:off x="841636" y="3330402"/>
            <a:ext cx="22585037" cy="8583375"/>
          </a:xfrm>
          <a:prstGeom prst="rect">
            <a:avLst/>
          </a:prstGeom>
          <a:noFill/>
        </p:spPr>
        <p:txBody>
          <a:bodyPr wrap="square" rtlCol="0">
            <a:spAutoFit/>
          </a:bodyPr>
          <a:lstStyle/>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Integrating weather conditions and land characteristics improved the accuracy of machine learning models for water pollution detection.</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atellite data (Sentinel-2, Copernicus) enable tracking and predicting phytoplankton blooms, detecting Harmful Algal Blooms (HABs) via chlorophyll-a estimations to assess eutrophication impact</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Missing satellite data, often caused by cloud cover or infrequent observations, has been managed using Grouped Mean Substitution (filling with the mean of available values) and Negative/Zero Substitution (-10 as a placeholder or 0 as neutral)</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patiotemporal deep learning models like SimVP can be more effective than traditional statistical methods (ARIMA, SES) for ocean visibility prediction by capturing both spatial and temporal dependencies, potentially reducing RMSE and improving inference speed significantly.</a:t>
            </a:r>
          </a:p>
        </p:txBody>
      </p:sp>
      <p:sp>
        <p:nvSpPr>
          <p:cNvPr id="2" name="Title 1">
            <a:extLst>
              <a:ext uri="{FF2B5EF4-FFF2-40B4-BE49-F238E27FC236}">
                <a16:creationId xmlns:a16="http://schemas.microsoft.com/office/drawing/2014/main" id="{E6BBFA13-CAC8-8EA0-5B08-CFD766D92859}"/>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are using several insights of the current literature to create our foundational model</a:t>
            </a:r>
          </a:p>
        </p:txBody>
      </p:sp>
      <p:sp>
        <p:nvSpPr>
          <p:cNvPr id="3" name="Title 1">
            <a:extLst>
              <a:ext uri="{FF2B5EF4-FFF2-40B4-BE49-F238E27FC236}">
                <a16:creationId xmlns:a16="http://schemas.microsoft.com/office/drawing/2014/main" id="{31BE69C5-4A2E-9B72-4ABC-FE89C432365C}"/>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Most important isnights shaping our research</a:t>
            </a:r>
          </a:p>
        </p:txBody>
      </p:sp>
      <p:cxnSp>
        <p:nvCxnSpPr>
          <p:cNvPr id="4" name="Elbow Connector 37">
            <a:extLst>
              <a:ext uri="{FF2B5EF4-FFF2-40B4-BE49-F238E27FC236}">
                <a16:creationId xmlns:a16="http://schemas.microsoft.com/office/drawing/2014/main" id="{ED3F2801-E8DA-05D9-D8C6-89605F1AF994}"/>
              </a:ext>
            </a:extLst>
          </p:cNvPr>
          <p:cNvCxnSpPr>
            <a:cxnSpLocks/>
          </p:cNvCxnSpPr>
          <p:nvPr/>
        </p:nvCxnSpPr>
        <p:spPr>
          <a:xfrm>
            <a:off x="841636" y="3330402"/>
            <a:ext cx="2276856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5" name="Text Placeholder 2">
            <a:extLst>
              <a:ext uri="{FF2B5EF4-FFF2-40B4-BE49-F238E27FC236}">
                <a16:creationId xmlns:a16="http://schemas.microsoft.com/office/drawing/2014/main" id="{25908C01-A3D0-BFD5-07CD-7EB3EF49E5C2}"/>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312433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ro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671477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Dataset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750686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Candidate Models</a:t>
            </a:r>
          </a:p>
        </p:txBody>
      </p:sp>
      <p:sp>
        <p:nvSpPr>
          <p:cNvPr id="2" name="Title 1">
            <a:extLst>
              <a:ext uri="{FF2B5EF4-FFF2-40B4-BE49-F238E27FC236}">
                <a16:creationId xmlns:a16="http://schemas.microsoft.com/office/drawing/2014/main" id="{841ECB46-4895-DEC8-6EF6-D7FAFD03051D}"/>
              </a:ext>
            </a:extLst>
          </p:cNvPr>
          <p:cNvSpPr txBox="1">
            <a:spLocks/>
          </p:cNvSpPr>
          <p:nvPr/>
        </p:nvSpPr>
        <p:spPr>
          <a:xfrm>
            <a:off x="1146725" y="829895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Other important aspects</a:t>
            </a:r>
          </a:p>
        </p:txBody>
      </p:sp>
      <p:sp>
        <p:nvSpPr>
          <p:cNvPr id="14" name="Oval 13">
            <a:extLst>
              <a:ext uri="{FF2B5EF4-FFF2-40B4-BE49-F238E27FC236}">
                <a16:creationId xmlns:a16="http://schemas.microsoft.com/office/drawing/2014/main" id="{7D4B6C20-7C5D-0708-BF9C-4E311228BFC9}"/>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A8D1AA4F-BAA5-66D1-8245-1FC7AC590D28}"/>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3FC84C04-B8D7-3912-B6F9-21CADD4232F1}"/>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Oval 16">
            <a:extLst>
              <a:ext uri="{FF2B5EF4-FFF2-40B4-BE49-F238E27FC236}">
                <a16:creationId xmlns:a16="http://schemas.microsoft.com/office/drawing/2014/main" id="{0CA3E33F-7C53-B6BF-EAF0-EC310CCE290E}"/>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8" name="Oval 17">
            <a:extLst>
              <a:ext uri="{FF2B5EF4-FFF2-40B4-BE49-F238E27FC236}">
                <a16:creationId xmlns:a16="http://schemas.microsoft.com/office/drawing/2014/main" id="{7762F920-1B3E-477D-1D56-BE6429ED00DA}"/>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9" name="Oval 18">
            <a:extLst>
              <a:ext uri="{FF2B5EF4-FFF2-40B4-BE49-F238E27FC236}">
                <a16:creationId xmlns:a16="http://schemas.microsoft.com/office/drawing/2014/main" id="{5BB115F5-3D43-C386-27FB-4D3FC249BE3A}"/>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7341D0B2-6198-32FE-B269-C07F3D13E45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C69DDEEA-2709-8442-6F08-F59B015A78C3}"/>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2501054E-0CA7-059F-969B-91906E5EB5E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Download Meta logo in vector (.EPS + ...">
              <a:extLst>
                <a:ext uri="{FF2B5EF4-FFF2-40B4-BE49-F238E27FC236}">
                  <a16:creationId xmlns:a16="http://schemas.microsoft.com/office/drawing/2014/main" id="{EF5C072E-ED7E-A5D7-ED3B-F9A745B756C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724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F8931D">
      <a:dk1>
        <a:srgbClr val="282B37"/>
      </a:dk1>
      <a:lt1>
        <a:srgbClr val="FFFFFF"/>
      </a:lt1>
      <a:dk2>
        <a:srgbClr val="282C38"/>
      </a:dk2>
      <a:lt2>
        <a:srgbClr val="FAFBFF"/>
      </a:lt2>
      <a:accent1>
        <a:srgbClr val="FFCC00"/>
      </a:accent1>
      <a:accent2>
        <a:srgbClr val="F8931D"/>
      </a:accent2>
      <a:accent3>
        <a:srgbClr val="CCCBCB"/>
      </a:accent3>
      <a:accent4>
        <a:srgbClr val="AEAEAE"/>
      </a:accent4>
      <a:accent5>
        <a:srgbClr val="A0A0A0"/>
      </a:accent5>
      <a:accent6>
        <a:srgbClr val="999999"/>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cap="flat" cmpd="sng" algn="ctr">
          <a:noFill/>
          <a:prstDash val="solid"/>
          <a:round/>
          <a:headEnd type="none" w="med" len="med"/>
          <a:tailEnd type="none" w="med" len="med"/>
        </a:ln>
      </a:spPr>
      <a:bodyPr rtlCol="0" anchor="ctr"/>
      <a:lstStyle>
        <a:defPPr algn="ctr">
          <a:defRPr>
            <a:latin typeface="Montserrat" pitchFamily="2" charset="77"/>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4582</TotalTime>
  <Words>1987</Words>
  <Application>Microsoft Macintosh PowerPoint</Application>
  <PresentationFormat>Custom</PresentationFormat>
  <Paragraphs>350</Paragraphs>
  <Slides>16</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entury Gothic</vt:lpstr>
      <vt:lpstr>Helvetica Neue</vt:lpstr>
      <vt:lpstr>Montserrat</vt:lpstr>
      <vt:lpstr>Montserrat SemiBold</vt:lpstr>
      <vt:lpstr>Montserrat-bold</vt:lpstr>
      <vt:lpstr>Roboto Light</vt:lpstr>
      <vt:lpstr>Tahoma</vt:lpstr>
      <vt:lpstr>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федотов</dc:creator>
  <cp:lastModifiedBy>Colic,I (pgt)</cp:lastModifiedBy>
  <cp:revision>4061</cp:revision>
  <cp:lastPrinted>2019-03-12T17:45:51Z</cp:lastPrinted>
  <dcterms:created xsi:type="dcterms:W3CDTF">2015-06-18T17:56:23Z</dcterms:created>
  <dcterms:modified xsi:type="dcterms:W3CDTF">2025-01-30T18:17:24Z</dcterms:modified>
</cp:coreProperties>
</file>